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1"/>
  </p:sldMasterIdLst>
  <p:notesMasterIdLst>
    <p:notesMasterId r:id="rId22"/>
  </p:notesMasterIdLst>
  <p:handoutMasterIdLst>
    <p:handoutMasterId r:id="rId23"/>
  </p:handoutMasterIdLst>
  <p:sldIdLst>
    <p:sldId id="262" r:id="rId2"/>
    <p:sldId id="275" r:id="rId3"/>
    <p:sldId id="277" r:id="rId4"/>
    <p:sldId id="284" r:id="rId5"/>
    <p:sldId id="276" r:id="rId6"/>
    <p:sldId id="285" r:id="rId7"/>
    <p:sldId id="282" r:id="rId8"/>
    <p:sldId id="278" r:id="rId9"/>
    <p:sldId id="280" r:id="rId10"/>
    <p:sldId id="283" r:id="rId11"/>
    <p:sldId id="287" r:id="rId12"/>
    <p:sldId id="279" r:id="rId13"/>
    <p:sldId id="288" r:id="rId14"/>
    <p:sldId id="289" r:id="rId15"/>
    <p:sldId id="290" r:id="rId16"/>
    <p:sldId id="291" r:id="rId17"/>
    <p:sldId id="292" r:id="rId18"/>
    <p:sldId id="263" r:id="rId19"/>
    <p:sldId id="273" r:id="rId20"/>
    <p:sldId id="293" r:id="rId21"/>
  </p:sldIdLst>
  <p:sldSz cx="11522075" cy="6480175"/>
  <p:notesSz cx="6858000" cy="9144000"/>
  <p:custDataLst>
    <p:tags r:id="rId24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579" autoAdjust="0"/>
  </p:normalViewPr>
  <p:slideViewPr>
    <p:cSldViewPr snapToGrid="0" snapToObjects="1">
      <p:cViewPr varScale="1">
        <p:scale>
          <a:sx n="121" d="100"/>
          <a:sy n="121" d="100"/>
        </p:scale>
        <p:origin x="444" y="10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5004" y="102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Grotesk Next" pitchFamily="2" charset="0"/>
              </a:rPr>
              <a:pPr/>
              <a:t>‹Nr.›</a:t>
            </a:fld>
            <a:endParaRPr lang="de-DE" dirty="0">
              <a:latin typeface="TeleGrotesk Next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82600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8262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9475" y="390525"/>
            <a:ext cx="65088" cy="65088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74738" y="390525"/>
            <a:ext cx="66675" cy="65088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82600" y="241300"/>
            <a:ext cx="265113" cy="323850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latin typeface="TeleGrotesk Next" pitchFamily="2" charset="0"/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5254625" y="379413"/>
            <a:ext cx="1119188" cy="85725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latin typeface="TeleGrotesk Next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5" userDrawn="1">
          <p15:clr>
            <a:srgbClr val="F26B43"/>
          </p15:clr>
        </p15:guide>
        <p15:guide id="2" pos="4015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TeleGrotesk Next" pitchFamily="2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‹Nr.›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Grotesk Next" pitchFamily="2" charset="0"/>
        <a:ea typeface="+mn-ea"/>
        <a:cs typeface="+mn-cs"/>
        <a:sym typeface="TeleGrotesk Next" pitchFamily="2" charset="0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2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6140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4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654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6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007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1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9057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</a:rPr>
              <a:pPr/>
              <a:t>16</a:t>
            </a:fld>
            <a:endParaRPr lang="en-US" dirty="0">
              <a:latin typeface="TeleGrotesk N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079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video" Target="../media/media1.mp4"/><Relationship Id="rId4" Type="http://schemas.microsoft.com/office/2007/relationships/media" Target="../media/media1.mp4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1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6795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D71068C-A336-40B0-80CE-132CC5605FD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57293" eaLnBrk="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7500" b="0" i="0" baseline="0" dirty="0" err="1">
              <a:latin typeface="TeleGrotesk Next Ultra" pitchFamily="2" charset="0"/>
              <a:ea typeface="+mj-ea"/>
              <a:cs typeface="TeleGrotesk Next Ultra" pitchFamily="2" charset="0"/>
              <a:sym typeface="TeleGrotesk Next Ultra" pitchFamily="2" charset="0"/>
            </a:endParaRPr>
          </a:p>
        </p:txBody>
      </p:sp>
      <p:pic>
        <p:nvPicPr>
          <p:cNvPr id="29" name="180723_Telekom_PPT_Particle_einzelLoop_LQ">
            <a:hlinkClick r:id="" action="ppaction://media"/>
            <a:extLst>
              <a:ext uri="{FF2B5EF4-FFF2-40B4-BE49-F238E27FC236}">
                <a16:creationId xmlns:a16="http://schemas.microsoft.com/office/drawing/2014/main" id="{98E829A0-A519-4605-A750-467AA7C0BDF6}"/>
              </a:ext>
            </a:extLst>
          </p:cNvPr>
          <p:cNvPicPr>
            <a:picLocks noChangeAspect="1"/>
          </p:cNvPicPr>
          <p:nvPr userDrawn="1"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308324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noProof="0" dirty="0"/>
              <a:t>next Ultra </a:t>
            </a:r>
            <a:br>
              <a:rPr lang="en-US" noProof="0" dirty="0"/>
            </a:br>
            <a:r>
              <a:rPr lang="en-US" noProof="0" dirty="0"/>
              <a:t>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9"/>
                </p:tgtEl>
              </p:cMediaNode>
            </p:video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052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30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584000"/>
            <a:ext cx="10874374" cy="1846659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394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next 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893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729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04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336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064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06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638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31FF818F-5B37-4549-AE79-8D785FF7B2BA}"/>
              </a:ext>
            </a:extLst>
          </p:cNvPr>
          <p:cNvSpPr txBox="1"/>
          <p:nvPr userDrawn="1"/>
        </p:nvSpPr>
        <p:spPr bwMode="gray">
          <a:xfrm>
            <a:off x="3397718" y="1116531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eaLnBrk="1">
              <a:buNone/>
            </a:pPr>
            <a:endParaRPr lang="en-US" sz="1800" dirty="0"/>
          </a:p>
        </p:txBody>
      </p:sp>
      <p:grpSp>
        <p:nvGrpSpPr>
          <p:cNvPr id="63" name="Gruppieren 62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6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8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729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861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949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Next Ultra" pitchFamily="2" charset="0"/>
              <a:cs typeface="TeleGrotesk Next" pitchFamily="2" charset="0"/>
              <a:sym typeface="TeleGrotesk Next Ultra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next ULTRA </a:t>
            </a:r>
            <a:br>
              <a:rPr lang="en-US" sz="4800" dirty="0"/>
            </a:br>
            <a:r>
              <a:rPr lang="en-US" sz="4800" dirty="0"/>
              <a:t>40 (48) 60 </a:t>
            </a:r>
            <a:r>
              <a:rPr lang="en-US" sz="4800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69332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pPr lvl="0"/>
            <a:r>
              <a:rPr lang="en-US" noProof="0" dirty="0"/>
              <a:t>Sub-heading: </a:t>
            </a:r>
            <a:r>
              <a:rPr lang="en-US" noProof="0" dirty="0" err="1"/>
              <a:t>TeleGrotesk</a:t>
            </a:r>
            <a:r>
              <a:rPr lang="en-US" noProof="0" dirty="0"/>
              <a:t> Next 2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26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6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Next Ultra" pitchFamily="2" charset="0"/>
                <a:cs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40)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69332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="0" smtClean="0">
                <a:solidFill>
                  <a:schemeClr val="bg1"/>
                </a:solidFill>
                <a:latin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Sub-heading: </a:t>
            </a:r>
            <a:r>
              <a:rPr lang="en-US" dirty="0" err="1"/>
              <a:t>TeleGrotesk</a:t>
            </a:r>
            <a:r>
              <a:rPr lang="en-US" dirty="0"/>
              <a:t> Next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908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 b="1">
                <a:solidFill>
                  <a:schemeClr val="tx2"/>
                </a:solidFill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4402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740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lang="en-US" sz="1400" b="1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 algn="l" defTabSz="576226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Nr.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90" y="252005"/>
            <a:ext cx="10698407" cy="39170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>
                <a:solidFill>
                  <a:srgbClr val="4B4B4B"/>
                </a:solidFill>
              </a:rPr>
              <a:t>2016/10/05</a:t>
            </a:r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de-DE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>
          <a:xfrm>
            <a:off x="3222581" y="6076734"/>
            <a:ext cx="5168931" cy="131885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r>
              <a:rPr lang="de-DE">
                <a:solidFill>
                  <a:srgbClr val="4B4B4B"/>
                </a:solidFill>
              </a:rPr>
              <a:t>– Internal –           G. Reinhäckel/ F. Schyrer / S. Wenner | OTC Training Session</a:t>
            </a:r>
            <a:endParaRPr lang="de-DE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23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2111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TeleGrotesk Next" pitchFamily="2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8" name="Gruppieren 37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9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4" name="Gruppieren 33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5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6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6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7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8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69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0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1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2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3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4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5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6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7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8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9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122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1944688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5" name="Gruppieren 34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36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1048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9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0597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091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 b/w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4756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65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923330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242299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31" imgW="360" imgH="360" progId="TCLayout.ActiveDocument.1">
                  <p:embed/>
                </p:oleObj>
              </mc:Choice>
              <mc:Fallback>
                <p:oleObj name="think-cell Folie" r:id="rId31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198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 err="1"/>
              <a:t>dd.mm.yyyy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Nr.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Grotesk Next" pitchFamily="2" charset="0"/>
                <a:cs typeface="TeleGrotesk Next" pitchFamily="2" charset="0"/>
                <a:sym typeface="TeleGrotesk Next" pitchFamily="2" charset="0"/>
              </a:defRPr>
            </a:lvl1pPr>
          </a:lstStyle>
          <a:p>
            <a:r>
              <a:rPr lang="en-US" dirty="0"/>
              <a:t>– Strictly confidential, Confidential, Internal –     Author/Presentation Topic</a:t>
            </a:r>
          </a:p>
        </p:txBody>
      </p:sp>
      <p:pic>
        <p:nvPicPr>
          <p:cNvPr id="10" name="Grafik 9" descr="T_Logo_3c_Slogan_p_INT.emf"/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86" r:id="rId9"/>
    <p:sldLayoutId id="2147483987" r:id="rId10"/>
    <p:sldLayoutId id="2147483988" r:id="rId11"/>
    <p:sldLayoutId id="2147483989" r:id="rId12"/>
    <p:sldLayoutId id="2147483718" r:id="rId13"/>
    <p:sldLayoutId id="2147483722" r:id="rId14"/>
    <p:sldLayoutId id="2147483723" r:id="rId15"/>
    <p:sldLayoutId id="2147483969" r:id="rId16"/>
    <p:sldLayoutId id="2147483970" r:id="rId17"/>
    <p:sldLayoutId id="2147483972" r:id="rId18"/>
    <p:sldLayoutId id="2147483971" r:id="rId19"/>
    <p:sldLayoutId id="2147483973" r:id="rId20"/>
    <p:sldLayoutId id="2147483716" r:id="rId21"/>
    <p:sldLayoutId id="2147483898" r:id="rId22"/>
    <p:sldLayoutId id="2147483711" r:id="rId23"/>
    <p:sldLayoutId id="2147483930" r:id="rId24"/>
    <p:sldLayoutId id="2147483959" r:id="rId25"/>
    <p:sldLayoutId id="2147483960" r:id="rId26"/>
    <p:sldLayoutId id="2147483997" r:id="rId27"/>
  </p:sldLayoutIdLst>
  <p:hf hdr="0" ftr="0" dt="0"/>
  <p:txStyles>
    <p:titleStyle>
      <a:lvl1pPr marL="0" indent="0" algn="l" defTabSz="457322" rtl="0" eaLnBrk="1" fontAlgn="base" hangingPunct="1">
        <a:lnSpc>
          <a:spcPct val="100000"/>
        </a:lnSpc>
        <a:spcBef>
          <a:spcPts val="0"/>
        </a:spcBef>
        <a:spcAft>
          <a:spcPct val="0"/>
        </a:spcAft>
        <a:defRPr lang="de-DE" sz="3200" kern="1200" cap="all" baseline="0" dirty="0">
          <a:solidFill>
            <a:schemeClr val="tx2"/>
          </a:solidFill>
          <a:latin typeface="TeleGrotesk Next Ultra" pitchFamily="2" charset="0"/>
          <a:ea typeface="+mj-ea"/>
          <a:cs typeface="TeleGrotesk Next Ultra" pitchFamily="2" charset="0"/>
          <a:sym typeface="TeleGrotesk Next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b="1" kern="1200">
          <a:solidFill>
            <a:schemeClr val="tx1"/>
          </a:solidFill>
          <a:latin typeface="+mn-lt"/>
          <a:ea typeface="+mn-ea"/>
          <a:cs typeface="+mn-cs"/>
          <a:sym typeface="Blackadder ITC" panose="04020505051007020D02" pitchFamily="82" charset="0"/>
        </a:defRPr>
      </a:lvl1pPr>
      <a:lvl2pPr marL="1588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TelekomCloud/alexa-on-otc" TargetMode="External"/><Relationship Id="rId2" Type="http://schemas.openxmlformats.org/officeDocument/2006/relationships/hyperlink" Target="https://open-telekom-cloud.com/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8.png"/><Relationship Id="rId4" Type="http://schemas.openxmlformats.org/officeDocument/2006/relationships/hyperlink" Target="mailto:sebastian.wenner@t-systems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19.emf"/><Relationship Id="rId7" Type="http://schemas.openxmlformats.org/officeDocument/2006/relationships/image" Target="../media/image23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4736298-DFC8-4696-9640-90F097FD16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797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5" imgW="530" imgH="531" progId="TCLayout.ActiveDocument.1">
                  <p:embed/>
                </p:oleObj>
              </mc:Choice>
              <mc:Fallback>
                <p:oleObj name="think-cell Folie" r:id="rId5" imgW="530" imgH="53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4736298-DFC8-4696-9640-90F097FD1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2668F8E-B013-4BD1-91AC-AE2CD5E8FD27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93" fontAlgn="base"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AT" sz="7500" dirty="0" err="1">
              <a:latin typeface="TeleGrotesk Next Ultra" pitchFamily="2" charset="0"/>
              <a:ea typeface="+mj-ea"/>
              <a:cs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E53DF92-C7D3-4BF7-94BC-BDFB09EF7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1154162"/>
          </a:xfrm>
        </p:spPr>
        <p:txBody>
          <a:bodyPr/>
          <a:lstStyle/>
          <a:p>
            <a:r>
              <a:rPr lang="en-US" dirty="0"/>
              <a:t>Raise your voice! 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47DB1C-6227-41F8-B8A5-DA6F382635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9731" y="2066541"/>
            <a:ext cx="10874375" cy="512090"/>
          </a:xfrm>
        </p:spPr>
        <p:txBody>
          <a:bodyPr/>
          <a:lstStyle/>
          <a:p>
            <a:r>
              <a:rPr lang="en-US" sz="2800" dirty="0"/>
              <a:t>How to connect Amazon Alexa to OpenStack</a:t>
            </a:r>
            <a:endParaRPr lang="de-DE" sz="28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CF0A9B6-E23B-4C50-A658-B0DAC9AC6C6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161713" y="5832475"/>
            <a:ext cx="360362" cy="323850"/>
          </a:xfrm>
        </p:spPr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</a:t>
            </a:fld>
            <a:endParaRPr lang="en-US" noProof="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6E15D50-2FBE-4AAB-BDB5-531B62843221}"/>
              </a:ext>
            </a:extLst>
          </p:cNvPr>
          <p:cNvGrpSpPr/>
          <p:nvPr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0744390-CCBC-40F7-8234-F96CB1D938A6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A2205F9-6AC4-4684-8353-BC77A388ED65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C894CA70-2A76-495B-A8E3-32A6753D1A79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832330EE-24A3-41CF-82B4-4133656C271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CDC3AC8-915D-4574-8112-6BD7622048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3684820-A30C-4172-A474-F3A6DC648257}"/>
              </a:ext>
            </a:extLst>
          </p:cNvPr>
          <p:cNvGrpSpPr/>
          <p:nvPr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15" name="Freeform 55">
              <a:extLst>
                <a:ext uri="{FF2B5EF4-FFF2-40B4-BE49-F238E27FC236}">
                  <a16:creationId xmlns:a16="http://schemas.microsoft.com/office/drawing/2014/main" id="{61D86B75-E2EE-429C-B6A8-935688E840F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6" name="Freeform 56">
              <a:extLst>
                <a:ext uri="{FF2B5EF4-FFF2-40B4-BE49-F238E27FC236}">
                  <a16:creationId xmlns:a16="http://schemas.microsoft.com/office/drawing/2014/main" id="{891138EC-426B-4083-8D69-EC5081908B2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7" name="Freeform 57">
              <a:extLst>
                <a:ext uri="{FF2B5EF4-FFF2-40B4-BE49-F238E27FC236}">
                  <a16:creationId xmlns:a16="http://schemas.microsoft.com/office/drawing/2014/main" id="{7F398732-5321-4D73-BDDA-9BB3DAD3746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8" name="Freeform 58">
              <a:extLst>
                <a:ext uri="{FF2B5EF4-FFF2-40B4-BE49-F238E27FC236}">
                  <a16:creationId xmlns:a16="http://schemas.microsoft.com/office/drawing/2014/main" id="{74EB02C3-2CB9-42AD-A712-4F60BCE9766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9" name="Freeform 59">
              <a:extLst>
                <a:ext uri="{FF2B5EF4-FFF2-40B4-BE49-F238E27FC236}">
                  <a16:creationId xmlns:a16="http://schemas.microsoft.com/office/drawing/2014/main" id="{44D64359-0AF0-40EA-A29D-14B45FBB889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0" name="Freeform 60">
              <a:extLst>
                <a:ext uri="{FF2B5EF4-FFF2-40B4-BE49-F238E27FC236}">
                  <a16:creationId xmlns:a16="http://schemas.microsoft.com/office/drawing/2014/main" id="{2DFFAF9E-A158-4DF6-B867-26FABB2BC7D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1" name="Freeform 61">
              <a:extLst>
                <a:ext uri="{FF2B5EF4-FFF2-40B4-BE49-F238E27FC236}">
                  <a16:creationId xmlns:a16="http://schemas.microsoft.com/office/drawing/2014/main" id="{58DAC97D-F6A3-4A7E-B347-F5FDD67EEC5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2" name="Freeform 62">
              <a:extLst>
                <a:ext uri="{FF2B5EF4-FFF2-40B4-BE49-F238E27FC236}">
                  <a16:creationId xmlns:a16="http://schemas.microsoft.com/office/drawing/2014/main" id="{645934DD-4E3D-4986-AA0E-CFA53C7BEF0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3" name="Freeform 63">
              <a:extLst>
                <a:ext uri="{FF2B5EF4-FFF2-40B4-BE49-F238E27FC236}">
                  <a16:creationId xmlns:a16="http://schemas.microsoft.com/office/drawing/2014/main" id="{E5EA0A9B-D76E-414A-B173-A3B7B441D25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4" name="Freeform 64">
              <a:extLst>
                <a:ext uri="{FF2B5EF4-FFF2-40B4-BE49-F238E27FC236}">
                  <a16:creationId xmlns:a16="http://schemas.microsoft.com/office/drawing/2014/main" id="{270BA987-850C-4B68-B997-D4D57AC5DAC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5" name="Freeform 65">
              <a:extLst>
                <a:ext uri="{FF2B5EF4-FFF2-40B4-BE49-F238E27FC236}">
                  <a16:creationId xmlns:a16="http://schemas.microsoft.com/office/drawing/2014/main" id="{B0F72D4B-1607-42CB-912D-5A3D44D3A450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6" name="Freeform 66">
              <a:extLst>
                <a:ext uri="{FF2B5EF4-FFF2-40B4-BE49-F238E27FC236}">
                  <a16:creationId xmlns:a16="http://schemas.microsoft.com/office/drawing/2014/main" id="{F3AF7D42-542A-45D9-BD7C-A80545B1E8A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7" name="Freeform 67">
              <a:extLst>
                <a:ext uri="{FF2B5EF4-FFF2-40B4-BE49-F238E27FC236}">
                  <a16:creationId xmlns:a16="http://schemas.microsoft.com/office/drawing/2014/main" id="{BE89E828-3A92-497D-818B-8720C5B9E63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8" name="Freeform 68">
              <a:extLst>
                <a:ext uri="{FF2B5EF4-FFF2-40B4-BE49-F238E27FC236}">
                  <a16:creationId xmlns:a16="http://schemas.microsoft.com/office/drawing/2014/main" id="{2A31B455-9C58-47AD-8DDB-089C352F7CAC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29" name="Freeform 69">
              <a:extLst>
                <a:ext uri="{FF2B5EF4-FFF2-40B4-BE49-F238E27FC236}">
                  <a16:creationId xmlns:a16="http://schemas.microsoft.com/office/drawing/2014/main" id="{AE893896-5C5E-4CB2-A5C4-41C27D6FEA7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0" name="Freeform 70">
              <a:extLst>
                <a:ext uri="{FF2B5EF4-FFF2-40B4-BE49-F238E27FC236}">
                  <a16:creationId xmlns:a16="http://schemas.microsoft.com/office/drawing/2014/main" id="{40E8FC7C-D264-4184-AA99-A5D1FED1BAD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31" name="Freeform 71">
              <a:extLst>
                <a:ext uri="{FF2B5EF4-FFF2-40B4-BE49-F238E27FC236}">
                  <a16:creationId xmlns:a16="http://schemas.microsoft.com/office/drawing/2014/main" id="{4BD0210C-B64F-4860-90D9-741CE3F8D8E2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036108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r>
              <a:rPr lang="de-DE" dirty="0"/>
              <a:t> Architecture (Frontend 2/2)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8E2034F-407A-426A-A23F-7BAE6462C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0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8BCE5A9-6A49-4E80-A24F-8270B12C6D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1476374"/>
            <a:ext cx="8421275" cy="2695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81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029087"/>
              </p:ext>
            </p:extLst>
          </p:nvPr>
        </p:nvGraphicFramePr>
        <p:xfrm>
          <a:off x="2933700" y="1476375"/>
          <a:ext cx="5654675" cy="2775944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4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4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rerequisites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teraction with Alexa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pplication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mazon Alexa Skill Kit (ASK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Dem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C6A4CB36-A7C1-4448-B04C-D5AD886B8C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9846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mazon Alexa Skill Kit (ASK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7B6E19-BE66-4417-BBE6-A15AA1CC7C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2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84AFF6-BA6D-45FB-A09B-48544BED69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1476375"/>
            <a:ext cx="10872001" cy="3848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945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mazon Alexa Skill Kit (Invocation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7B6E19-BE66-4417-BBE6-A15AA1CC7C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3</a:t>
            </a:fld>
            <a:endParaRPr lang="en-US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B4BC469-4197-45D0-BCC8-7ABB5DF263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1478852"/>
            <a:ext cx="8315504" cy="4042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9658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mazon Alexa Skill Kit (Intent / Utterance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7B6E19-BE66-4417-BBE6-A15AA1CC7C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4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7597A96-374D-489A-9364-C9F19B5D2D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1192595"/>
            <a:ext cx="9371794" cy="4420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84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mazon Alexa Skill Kit (ASK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D7B6E19-BE66-4417-BBE6-A15AA1CC7C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5</a:t>
            </a:fld>
            <a:endParaRPr lang="en-US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1BD9C94-D847-4136-BB30-E7A2B1CA87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8" y="1056289"/>
            <a:ext cx="7928487" cy="46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7597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163927"/>
              </p:ext>
            </p:extLst>
          </p:nvPr>
        </p:nvGraphicFramePr>
        <p:xfrm>
          <a:off x="2933700" y="1476375"/>
          <a:ext cx="5654675" cy="2775944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4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4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rerequisites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teraction with Alexa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pplication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="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mazon Alexa Skill Kit (ASK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Dem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8DE6ED94-CC8D-4437-B557-1F4B1E84AD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50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 (</a:t>
            </a:r>
            <a:r>
              <a:rPr lang="de-DE" dirty="0" err="1"/>
              <a:t>Skill</a:t>
            </a:r>
            <a:r>
              <a:rPr lang="de-DE" dirty="0"/>
              <a:t> / NGROK)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8E2034F-407A-426A-A23F-7BAE6462C2E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Alexa </a:t>
            </a:r>
            <a:r>
              <a:rPr lang="de-DE" dirty="0" err="1"/>
              <a:t>Skill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90D54D6-5C96-4EB1-821D-90E68395FA3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ngrok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7</a:t>
            </a:fld>
            <a:endParaRPr lang="en-US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6C44989-DA6B-4FE1-AA03-441530BC96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000" y="2187940"/>
            <a:ext cx="5091455" cy="168421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4320AF3-792F-4A90-8B8D-1EFA080630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475" y="2187940"/>
            <a:ext cx="5086590" cy="304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2096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56F18AF-4DFF-4739-8549-0F13B7C19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55E79022-B719-409C-8A9F-58AC3D4D956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3998" y="1273174"/>
            <a:ext cx="6490612" cy="4323585"/>
          </a:xfr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8EE4EDC-E649-4822-8C31-DB79C38DE4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18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9965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6652" name="Picture 12" descr="D:\Daten\Eigene Bilder\01_Medienarchiv_Powerpoint Formate\Office_World\02_Meeting_PPT-Format\TSY_Meeting_1030_hoch_PPT.jpg"/>
          <p:cNvPicPr>
            <a:picLocks noChangeAspect="1" noChangeArrowheads="1"/>
          </p:cNvPicPr>
          <p:nvPr/>
        </p:nvPicPr>
        <p:blipFill rotWithShape="1">
          <a:blip r:embed="rId2" cstate="print"/>
          <a:srcRect l="9141" r="319"/>
          <a:stretch/>
        </p:blipFill>
        <p:spPr bwMode="auto">
          <a:xfrm>
            <a:off x="0" y="-914400"/>
            <a:ext cx="11522075" cy="8641557"/>
          </a:xfrm>
          <a:prstGeom prst="rect">
            <a:avLst/>
          </a:prstGeom>
          <a:noFill/>
        </p:spPr>
      </p:pic>
      <p:sp>
        <p:nvSpPr>
          <p:cNvPr id="8" name="Rectangle 7"/>
          <p:cNvSpPr>
            <a:spLocks noChangeArrowheads="1"/>
          </p:cNvSpPr>
          <p:nvPr/>
        </p:nvSpPr>
        <p:spPr bwMode="gray">
          <a:xfrm flipH="1">
            <a:off x="820507" y="814311"/>
            <a:ext cx="3667599" cy="918025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1927" tIns="67949" rIns="101927" bIns="67949" anchor="ctr"/>
          <a:lstStyle/>
          <a:p>
            <a:pPr defTabSz="939360" eaLnBrk="0" hangingPunct="0">
              <a:lnSpc>
                <a:spcPct val="80000"/>
              </a:lnSpc>
            </a:pPr>
            <a:endParaRPr lang="pl-PL" sz="1512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gray">
          <a:xfrm flipH="1">
            <a:off x="820507" y="814311"/>
            <a:ext cx="3667599" cy="918025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1927" tIns="67949" rIns="101927" bIns="67949" anchor="ctr"/>
          <a:lstStyle/>
          <a:p>
            <a:pPr defTabSz="939360" eaLnBrk="0" hangingPunct="0">
              <a:lnSpc>
                <a:spcPct val="80000"/>
              </a:lnSpc>
            </a:pPr>
            <a:endParaRPr lang="pl-PL" sz="1512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gray">
          <a:xfrm flipH="1">
            <a:off x="820497" y="814313"/>
            <a:ext cx="3402092" cy="1360537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1927" tIns="67949" rIns="101927" bIns="67949" anchor="ctr"/>
          <a:lstStyle/>
          <a:p>
            <a:pPr defTabSz="939360" eaLnBrk="0" hangingPunct="0">
              <a:lnSpc>
                <a:spcPct val="80000"/>
              </a:lnSpc>
            </a:pPr>
            <a:endParaRPr lang="pl-PL" sz="1512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gray">
          <a:xfrm flipH="1">
            <a:off x="820496" y="814310"/>
            <a:ext cx="3061536" cy="110214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135898" tIns="135898" rIns="135898" bIns="135898" anchor="t">
            <a:noAutofit/>
          </a:bodyPr>
          <a:lstStyle/>
          <a:p>
            <a:pPr defTabSz="939360" eaLnBrk="0" hangingPunct="0">
              <a:lnSpc>
                <a:spcPct val="90000"/>
              </a:lnSpc>
            </a:pPr>
            <a:r>
              <a:rPr lang="de-DE" sz="4158" dirty="0">
                <a:solidFill>
                  <a:schemeClr val="bg1"/>
                </a:solidFill>
                <a:latin typeface="TeleGrotesk Headline Ultra" pitchFamily="2" charset="0"/>
              </a:rPr>
              <a:t>QUESTIONS?</a:t>
            </a:r>
            <a:endParaRPr lang="de-DE" sz="4158" dirty="0">
              <a:solidFill>
                <a:schemeClr val="bg1"/>
              </a:solidFill>
              <a:latin typeface="TeleGrotesk Headli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84649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3285209"/>
              </p:ext>
            </p:extLst>
          </p:nvPr>
        </p:nvGraphicFramePr>
        <p:xfrm>
          <a:off x="2933700" y="1476375"/>
          <a:ext cx="5654675" cy="2775944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4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4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rerequisites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teraction with Alexa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pplication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mazon Alexa Skill Kit (ASK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Dem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226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99C19E-3121-4A0E-8578-85ABE9AC9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tact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9B48035-915C-4CD3-BD0C-A4E797EEA1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4000" dirty="0"/>
              <a:t>Open Telekom Cloud: </a:t>
            </a:r>
            <a:br>
              <a:rPr lang="de-DE" sz="4000" dirty="0"/>
            </a:br>
            <a:r>
              <a:rPr lang="de-DE" sz="4000" dirty="0">
                <a:hlinkClick r:id="rId2"/>
              </a:rPr>
              <a:t>https://open-telekom-cloud.com</a:t>
            </a:r>
            <a:r>
              <a:rPr lang="de-DE" sz="4000" dirty="0"/>
              <a:t> </a:t>
            </a:r>
          </a:p>
          <a:p>
            <a:r>
              <a:rPr lang="de-DE" sz="4000" dirty="0"/>
              <a:t>Repository: </a:t>
            </a:r>
            <a:r>
              <a:rPr lang="de-DE" sz="4000" dirty="0">
                <a:hlinkClick r:id="rId3"/>
              </a:rPr>
              <a:t>https://github.com/OpenTelekomCloud/alexa-on-otc</a:t>
            </a:r>
            <a:r>
              <a:rPr lang="de-DE" sz="4000" dirty="0"/>
              <a:t> </a:t>
            </a:r>
          </a:p>
          <a:p>
            <a:r>
              <a:rPr lang="de-DE" sz="4000" dirty="0"/>
              <a:t>Contact: </a:t>
            </a:r>
            <a:br>
              <a:rPr lang="de-DE" sz="4000" dirty="0"/>
            </a:br>
            <a:r>
              <a:rPr lang="de-DE" sz="4000" dirty="0">
                <a:hlinkClick r:id="rId4"/>
              </a:rPr>
              <a:t>sebastian.wenner@t-systems.com</a:t>
            </a:r>
            <a:r>
              <a:rPr lang="de-DE" sz="4000" dirty="0"/>
              <a:t>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4A5C60F-4C93-42A5-A200-36E4518B32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de-DE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20</a:t>
            </a:fld>
            <a:endParaRPr lang="de-DE" dirty="0">
              <a:solidFill>
                <a:srgbClr val="4B4B4B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DD7345-34E0-47D7-89EA-0F5F84C0AD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8500" y="252000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079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erequisite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3</a:t>
            </a:fld>
            <a:endParaRPr lang="en-US" noProof="0" dirty="0"/>
          </a:p>
        </p:txBody>
      </p:sp>
      <p:sp>
        <p:nvSpPr>
          <p:cNvPr id="5" name="Freeform 102">
            <a:extLst>
              <a:ext uri="{FF2B5EF4-FFF2-40B4-BE49-F238E27FC236}">
                <a16:creationId xmlns:a16="http://schemas.microsoft.com/office/drawing/2014/main" id="{BCC0B6FE-179A-4B66-9C7F-71C39DF54AF8}"/>
              </a:ext>
            </a:extLst>
          </p:cNvPr>
          <p:cNvSpPr>
            <a:spLocks noEditPoints="1"/>
          </p:cNvSpPr>
          <p:nvPr/>
        </p:nvSpPr>
        <p:spPr bwMode="auto">
          <a:xfrm>
            <a:off x="4044109" y="839348"/>
            <a:ext cx="2798652" cy="2781089"/>
          </a:xfrm>
          <a:custGeom>
            <a:avLst/>
            <a:gdLst>
              <a:gd name="T0" fmla="*/ 489 w 809"/>
              <a:gd name="T1" fmla="*/ 268 h 804"/>
              <a:gd name="T2" fmla="*/ 482 w 809"/>
              <a:gd name="T3" fmla="*/ 193 h 804"/>
              <a:gd name="T4" fmla="*/ 615 w 809"/>
              <a:gd name="T5" fmla="*/ 60 h 804"/>
              <a:gd name="T6" fmla="*/ 630 w 809"/>
              <a:gd name="T7" fmla="*/ 92 h 804"/>
              <a:gd name="T8" fmla="*/ 585 w 809"/>
              <a:gd name="T9" fmla="*/ 249 h 804"/>
              <a:gd name="T10" fmla="*/ 630 w 809"/>
              <a:gd name="T11" fmla="*/ 294 h 804"/>
              <a:gd name="T12" fmla="*/ 615 w 809"/>
              <a:gd name="T13" fmla="*/ 326 h 804"/>
              <a:gd name="T14" fmla="*/ 540 w 809"/>
              <a:gd name="T15" fmla="*/ 319 h 804"/>
              <a:gd name="T16" fmla="*/ 541 w 809"/>
              <a:gd name="T17" fmla="*/ 334 h 804"/>
              <a:gd name="T18" fmla="*/ 615 w 809"/>
              <a:gd name="T19" fmla="*/ 366 h 804"/>
              <a:gd name="T20" fmla="*/ 762 w 809"/>
              <a:gd name="T21" fmla="*/ 264 h 804"/>
              <a:gd name="T22" fmla="*/ 630 w 809"/>
              <a:gd name="T23" fmla="*/ 254 h 804"/>
              <a:gd name="T24" fmla="*/ 625 w 809"/>
              <a:gd name="T25" fmla="*/ 249 h 804"/>
              <a:gd name="T26" fmla="*/ 630 w 809"/>
              <a:gd name="T27" fmla="*/ 132 h 804"/>
              <a:gd name="T28" fmla="*/ 762 w 809"/>
              <a:gd name="T29" fmla="*/ 122 h 804"/>
              <a:gd name="T30" fmla="*/ 615 w 809"/>
              <a:gd name="T31" fmla="*/ 20 h 804"/>
              <a:gd name="T32" fmla="*/ 442 w 809"/>
              <a:gd name="T33" fmla="*/ 193 h 804"/>
              <a:gd name="T34" fmla="*/ 417 w 809"/>
              <a:gd name="T35" fmla="*/ 283 h 804"/>
              <a:gd name="T36" fmla="*/ 328 w 809"/>
              <a:gd name="T37" fmla="*/ 532 h 804"/>
              <a:gd name="T38" fmla="*/ 69 w 809"/>
              <a:gd name="T39" fmla="*/ 739 h 804"/>
              <a:gd name="T40" fmla="*/ 69 w 809"/>
              <a:gd name="T41" fmla="*/ 688 h 804"/>
              <a:gd name="T42" fmla="*/ 283 w 809"/>
              <a:gd name="T43" fmla="*/ 417 h 804"/>
              <a:gd name="T44" fmla="*/ 19 w 809"/>
              <a:gd name="T45" fmla="*/ 713 h 804"/>
              <a:gd name="T46" fmla="*/ 95 w 809"/>
              <a:gd name="T47" fmla="*/ 790 h 804"/>
              <a:gd name="T48" fmla="*/ 355 w 809"/>
              <a:gd name="T49" fmla="*/ 561 h 804"/>
              <a:gd name="T50" fmla="*/ 328 w 809"/>
              <a:gd name="T51" fmla="*/ 532 h 804"/>
              <a:gd name="T52" fmla="*/ 770 w 809"/>
              <a:gd name="T53" fmla="*/ 600 h 804"/>
              <a:gd name="T54" fmla="*/ 455 w 809"/>
              <a:gd name="T55" fmla="*/ 352 h 804"/>
              <a:gd name="T56" fmla="*/ 452 w 809"/>
              <a:gd name="T57" fmla="*/ 355 h 804"/>
              <a:gd name="T58" fmla="*/ 222 w 809"/>
              <a:gd name="T59" fmla="*/ 107 h 804"/>
              <a:gd name="T60" fmla="*/ 129 w 809"/>
              <a:gd name="T61" fmla="*/ 12 h 804"/>
              <a:gd name="T62" fmla="*/ 72 w 809"/>
              <a:gd name="T63" fmla="*/ 12 h 804"/>
              <a:gd name="T64" fmla="*/ 22 w 809"/>
              <a:gd name="T65" fmla="*/ 62 h 804"/>
              <a:gd name="T66" fmla="*/ 0 w 809"/>
              <a:gd name="T67" fmla="*/ 100 h 804"/>
              <a:gd name="T68" fmla="*/ 98 w 809"/>
              <a:gd name="T69" fmla="*/ 214 h 804"/>
              <a:gd name="T70" fmla="*/ 143 w 809"/>
              <a:gd name="T71" fmla="*/ 239 h 804"/>
              <a:gd name="T72" fmla="*/ 354 w 809"/>
              <a:gd name="T73" fmla="*/ 454 h 804"/>
              <a:gd name="T74" fmla="*/ 354 w 809"/>
              <a:gd name="T75" fmla="*/ 522 h 804"/>
              <a:gd name="T76" fmla="*/ 685 w 809"/>
              <a:gd name="T77" fmla="*/ 804 h 804"/>
              <a:gd name="T78" fmla="*/ 807 w 809"/>
              <a:gd name="T79" fmla="*/ 681 h 804"/>
              <a:gd name="T80" fmla="*/ 167 w 809"/>
              <a:gd name="T81" fmla="*/ 206 h 804"/>
              <a:gd name="T82" fmla="*/ 126 w 809"/>
              <a:gd name="T83" fmla="*/ 185 h 804"/>
              <a:gd name="T84" fmla="*/ 50 w 809"/>
              <a:gd name="T85" fmla="*/ 90 h 804"/>
              <a:gd name="T86" fmla="*/ 186 w 809"/>
              <a:gd name="T87" fmla="*/ 126 h 804"/>
              <a:gd name="T88" fmla="*/ 424 w 809"/>
              <a:gd name="T89" fmla="*/ 383 h 804"/>
              <a:gd name="T90" fmla="*/ 167 w 809"/>
              <a:gd name="T91" fmla="*/ 206 h 804"/>
              <a:gd name="T92" fmla="*/ 685 w 809"/>
              <a:gd name="T93" fmla="*/ 764 h 804"/>
              <a:gd name="T94" fmla="*/ 382 w 809"/>
              <a:gd name="T95" fmla="*/ 494 h 804"/>
              <a:gd name="T96" fmla="*/ 382 w 809"/>
              <a:gd name="T97" fmla="*/ 482 h 804"/>
              <a:gd name="T98" fmla="*/ 482 w 809"/>
              <a:gd name="T99" fmla="*/ 381 h 804"/>
              <a:gd name="T100" fmla="*/ 494 w 809"/>
              <a:gd name="T101" fmla="*/ 381 h 804"/>
              <a:gd name="T102" fmla="*/ 741 w 809"/>
              <a:gd name="T103" fmla="*/ 629 h 804"/>
              <a:gd name="T104" fmla="*/ 741 w 809"/>
              <a:gd name="T105" fmla="*/ 741 h 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09" h="804">
                <a:moveTo>
                  <a:pt x="446" y="311"/>
                </a:moveTo>
                <a:cubicBezTo>
                  <a:pt x="489" y="268"/>
                  <a:pt x="489" y="268"/>
                  <a:pt x="489" y="268"/>
                </a:cubicBezTo>
                <a:cubicBezTo>
                  <a:pt x="494" y="262"/>
                  <a:pt x="496" y="253"/>
                  <a:pt x="493" y="246"/>
                </a:cubicBezTo>
                <a:cubicBezTo>
                  <a:pt x="485" y="229"/>
                  <a:pt x="482" y="211"/>
                  <a:pt x="482" y="193"/>
                </a:cubicBezTo>
                <a:cubicBezTo>
                  <a:pt x="482" y="158"/>
                  <a:pt x="496" y="124"/>
                  <a:pt x="521" y="99"/>
                </a:cubicBezTo>
                <a:cubicBezTo>
                  <a:pt x="546" y="74"/>
                  <a:pt x="579" y="60"/>
                  <a:pt x="615" y="60"/>
                </a:cubicBezTo>
                <a:cubicBezTo>
                  <a:pt x="647" y="60"/>
                  <a:pt x="678" y="72"/>
                  <a:pt x="702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05" y="92"/>
                  <a:pt x="585" y="112"/>
                  <a:pt x="585" y="137"/>
                </a:cubicBezTo>
                <a:cubicBezTo>
                  <a:pt x="585" y="249"/>
                  <a:pt x="585" y="249"/>
                  <a:pt x="585" y="249"/>
                </a:cubicBezTo>
                <a:cubicBezTo>
                  <a:pt x="585" y="261"/>
                  <a:pt x="590" y="272"/>
                  <a:pt x="598" y="281"/>
                </a:cubicBezTo>
                <a:cubicBezTo>
                  <a:pt x="607" y="289"/>
                  <a:pt x="618" y="294"/>
                  <a:pt x="630" y="294"/>
                </a:cubicBezTo>
                <a:cubicBezTo>
                  <a:pt x="702" y="294"/>
                  <a:pt x="702" y="294"/>
                  <a:pt x="702" y="294"/>
                </a:cubicBezTo>
                <a:cubicBezTo>
                  <a:pt x="678" y="314"/>
                  <a:pt x="648" y="326"/>
                  <a:pt x="615" y="326"/>
                </a:cubicBezTo>
                <a:cubicBezTo>
                  <a:pt x="597" y="326"/>
                  <a:pt x="579" y="323"/>
                  <a:pt x="562" y="315"/>
                </a:cubicBezTo>
                <a:cubicBezTo>
                  <a:pt x="555" y="312"/>
                  <a:pt x="546" y="314"/>
                  <a:pt x="540" y="319"/>
                </a:cubicBezTo>
                <a:cubicBezTo>
                  <a:pt x="532" y="327"/>
                  <a:pt x="532" y="327"/>
                  <a:pt x="532" y="327"/>
                </a:cubicBezTo>
                <a:cubicBezTo>
                  <a:pt x="535" y="329"/>
                  <a:pt x="538" y="332"/>
                  <a:pt x="541" y="334"/>
                </a:cubicBezTo>
                <a:cubicBezTo>
                  <a:pt x="566" y="359"/>
                  <a:pt x="566" y="359"/>
                  <a:pt x="566" y="359"/>
                </a:cubicBezTo>
                <a:cubicBezTo>
                  <a:pt x="582" y="364"/>
                  <a:pt x="598" y="366"/>
                  <a:pt x="615" y="366"/>
                </a:cubicBezTo>
                <a:cubicBezTo>
                  <a:pt x="675" y="366"/>
                  <a:pt x="730" y="336"/>
                  <a:pt x="762" y="284"/>
                </a:cubicBezTo>
                <a:cubicBezTo>
                  <a:pt x="766" y="278"/>
                  <a:pt x="766" y="270"/>
                  <a:pt x="762" y="264"/>
                </a:cubicBezTo>
                <a:cubicBezTo>
                  <a:pt x="759" y="258"/>
                  <a:pt x="752" y="254"/>
                  <a:pt x="745" y="254"/>
                </a:cubicBezTo>
                <a:cubicBezTo>
                  <a:pt x="630" y="254"/>
                  <a:pt x="630" y="254"/>
                  <a:pt x="630" y="254"/>
                </a:cubicBezTo>
                <a:cubicBezTo>
                  <a:pt x="628" y="254"/>
                  <a:pt x="627" y="253"/>
                  <a:pt x="627" y="252"/>
                </a:cubicBezTo>
                <a:cubicBezTo>
                  <a:pt x="626" y="252"/>
                  <a:pt x="625" y="251"/>
                  <a:pt x="625" y="249"/>
                </a:cubicBezTo>
                <a:cubicBezTo>
                  <a:pt x="625" y="137"/>
                  <a:pt x="625" y="137"/>
                  <a:pt x="625" y="137"/>
                </a:cubicBezTo>
                <a:cubicBezTo>
                  <a:pt x="625" y="134"/>
                  <a:pt x="627" y="132"/>
                  <a:pt x="630" y="132"/>
                </a:cubicBezTo>
                <a:cubicBezTo>
                  <a:pt x="745" y="132"/>
                  <a:pt x="745" y="132"/>
                  <a:pt x="745" y="132"/>
                </a:cubicBezTo>
                <a:cubicBezTo>
                  <a:pt x="752" y="132"/>
                  <a:pt x="759" y="128"/>
                  <a:pt x="762" y="122"/>
                </a:cubicBezTo>
                <a:cubicBezTo>
                  <a:pt x="766" y="116"/>
                  <a:pt x="766" y="108"/>
                  <a:pt x="762" y="102"/>
                </a:cubicBezTo>
                <a:cubicBezTo>
                  <a:pt x="730" y="50"/>
                  <a:pt x="675" y="20"/>
                  <a:pt x="615" y="20"/>
                </a:cubicBezTo>
                <a:cubicBezTo>
                  <a:pt x="569" y="20"/>
                  <a:pt x="525" y="38"/>
                  <a:pt x="492" y="71"/>
                </a:cubicBezTo>
                <a:cubicBezTo>
                  <a:pt x="460" y="103"/>
                  <a:pt x="442" y="147"/>
                  <a:pt x="442" y="193"/>
                </a:cubicBezTo>
                <a:cubicBezTo>
                  <a:pt x="442" y="212"/>
                  <a:pt x="445" y="231"/>
                  <a:pt x="451" y="249"/>
                </a:cubicBezTo>
                <a:cubicBezTo>
                  <a:pt x="417" y="283"/>
                  <a:pt x="417" y="283"/>
                  <a:pt x="417" y="283"/>
                </a:cubicBezTo>
                <a:lnTo>
                  <a:pt x="446" y="311"/>
                </a:lnTo>
                <a:close/>
                <a:moveTo>
                  <a:pt x="328" y="532"/>
                </a:moveTo>
                <a:cubicBezTo>
                  <a:pt x="121" y="739"/>
                  <a:pt x="121" y="739"/>
                  <a:pt x="121" y="739"/>
                </a:cubicBezTo>
                <a:cubicBezTo>
                  <a:pt x="107" y="753"/>
                  <a:pt x="83" y="753"/>
                  <a:pt x="69" y="739"/>
                </a:cubicBezTo>
                <a:cubicBezTo>
                  <a:pt x="63" y="732"/>
                  <a:pt x="59" y="723"/>
                  <a:pt x="59" y="713"/>
                </a:cubicBezTo>
                <a:cubicBezTo>
                  <a:pt x="59" y="704"/>
                  <a:pt x="63" y="694"/>
                  <a:pt x="69" y="688"/>
                </a:cubicBezTo>
                <a:cubicBezTo>
                  <a:pt x="312" y="445"/>
                  <a:pt x="312" y="445"/>
                  <a:pt x="312" y="445"/>
                </a:cubicBezTo>
                <a:cubicBezTo>
                  <a:pt x="283" y="417"/>
                  <a:pt x="283" y="417"/>
                  <a:pt x="283" y="417"/>
                </a:cubicBezTo>
                <a:cubicBezTo>
                  <a:pt x="41" y="659"/>
                  <a:pt x="41" y="659"/>
                  <a:pt x="41" y="659"/>
                </a:cubicBezTo>
                <a:cubicBezTo>
                  <a:pt x="27" y="674"/>
                  <a:pt x="19" y="693"/>
                  <a:pt x="19" y="713"/>
                </a:cubicBezTo>
                <a:cubicBezTo>
                  <a:pt x="19" y="734"/>
                  <a:pt x="27" y="753"/>
                  <a:pt x="41" y="767"/>
                </a:cubicBezTo>
                <a:cubicBezTo>
                  <a:pt x="56" y="782"/>
                  <a:pt x="75" y="790"/>
                  <a:pt x="95" y="790"/>
                </a:cubicBezTo>
                <a:cubicBezTo>
                  <a:pt x="116" y="790"/>
                  <a:pt x="135" y="782"/>
                  <a:pt x="149" y="767"/>
                </a:cubicBezTo>
                <a:cubicBezTo>
                  <a:pt x="355" y="561"/>
                  <a:pt x="355" y="561"/>
                  <a:pt x="355" y="561"/>
                </a:cubicBezTo>
                <a:cubicBezTo>
                  <a:pt x="335" y="541"/>
                  <a:pt x="335" y="541"/>
                  <a:pt x="335" y="541"/>
                </a:cubicBezTo>
                <a:cubicBezTo>
                  <a:pt x="332" y="538"/>
                  <a:pt x="330" y="535"/>
                  <a:pt x="328" y="532"/>
                </a:cubicBezTo>
                <a:close/>
                <a:moveTo>
                  <a:pt x="772" y="603"/>
                </a:moveTo>
                <a:cubicBezTo>
                  <a:pt x="771" y="602"/>
                  <a:pt x="770" y="601"/>
                  <a:pt x="770" y="600"/>
                </a:cubicBezTo>
                <a:cubicBezTo>
                  <a:pt x="522" y="353"/>
                  <a:pt x="522" y="353"/>
                  <a:pt x="522" y="353"/>
                </a:cubicBezTo>
                <a:cubicBezTo>
                  <a:pt x="505" y="335"/>
                  <a:pt x="474" y="335"/>
                  <a:pt x="455" y="352"/>
                </a:cubicBezTo>
                <a:cubicBezTo>
                  <a:pt x="455" y="352"/>
                  <a:pt x="454" y="353"/>
                  <a:pt x="454" y="353"/>
                </a:cubicBezTo>
                <a:cubicBezTo>
                  <a:pt x="452" y="355"/>
                  <a:pt x="452" y="355"/>
                  <a:pt x="452" y="355"/>
                </a:cubicBezTo>
                <a:cubicBezTo>
                  <a:pt x="240" y="143"/>
                  <a:pt x="240" y="143"/>
                  <a:pt x="240" y="143"/>
                </a:cubicBezTo>
                <a:cubicBezTo>
                  <a:pt x="222" y="107"/>
                  <a:pt x="222" y="107"/>
                  <a:pt x="222" y="107"/>
                </a:cubicBezTo>
                <a:cubicBezTo>
                  <a:pt x="220" y="104"/>
                  <a:pt x="217" y="100"/>
                  <a:pt x="214" y="97"/>
                </a:cubicBezTo>
                <a:cubicBezTo>
                  <a:pt x="129" y="12"/>
                  <a:pt x="129" y="12"/>
                  <a:pt x="129" y="12"/>
                </a:cubicBezTo>
                <a:cubicBezTo>
                  <a:pt x="121" y="4"/>
                  <a:pt x="111" y="0"/>
                  <a:pt x="100" y="0"/>
                </a:cubicBezTo>
                <a:cubicBezTo>
                  <a:pt x="90" y="0"/>
                  <a:pt x="79" y="4"/>
                  <a:pt x="72" y="12"/>
                </a:cubicBezTo>
                <a:cubicBezTo>
                  <a:pt x="62" y="22"/>
                  <a:pt x="62" y="22"/>
                  <a:pt x="62" y="22"/>
                </a:cubicBezTo>
                <a:cubicBezTo>
                  <a:pt x="22" y="62"/>
                  <a:pt x="22" y="62"/>
                  <a:pt x="22" y="62"/>
                </a:cubicBezTo>
                <a:cubicBezTo>
                  <a:pt x="12" y="71"/>
                  <a:pt x="12" y="71"/>
                  <a:pt x="12" y="71"/>
                </a:cubicBezTo>
                <a:cubicBezTo>
                  <a:pt x="5" y="79"/>
                  <a:pt x="0" y="89"/>
                  <a:pt x="0" y="100"/>
                </a:cubicBezTo>
                <a:cubicBezTo>
                  <a:pt x="0" y="110"/>
                  <a:pt x="5" y="121"/>
                  <a:pt x="12" y="128"/>
                </a:cubicBezTo>
                <a:cubicBezTo>
                  <a:pt x="98" y="214"/>
                  <a:pt x="98" y="214"/>
                  <a:pt x="98" y="214"/>
                </a:cubicBezTo>
                <a:cubicBezTo>
                  <a:pt x="101" y="217"/>
                  <a:pt x="104" y="219"/>
                  <a:pt x="108" y="221"/>
                </a:cubicBezTo>
                <a:cubicBezTo>
                  <a:pt x="143" y="239"/>
                  <a:pt x="143" y="239"/>
                  <a:pt x="143" y="239"/>
                </a:cubicBezTo>
                <a:cubicBezTo>
                  <a:pt x="356" y="452"/>
                  <a:pt x="356" y="452"/>
                  <a:pt x="356" y="452"/>
                </a:cubicBezTo>
                <a:cubicBezTo>
                  <a:pt x="354" y="454"/>
                  <a:pt x="354" y="454"/>
                  <a:pt x="354" y="454"/>
                </a:cubicBezTo>
                <a:cubicBezTo>
                  <a:pt x="345" y="463"/>
                  <a:pt x="340" y="475"/>
                  <a:pt x="340" y="488"/>
                </a:cubicBezTo>
                <a:cubicBezTo>
                  <a:pt x="340" y="501"/>
                  <a:pt x="345" y="513"/>
                  <a:pt x="354" y="522"/>
                </a:cubicBezTo>
                <a:cubicBezTo>
                  <a:pt x="601" y="769"/>
                  <a:pt x="601" y="769"/>
                  <a:pt x="601" y="769"/>
                </a:cubicBezTo>
                <a:cubicBezTo>
                  <a:pt x="623" y="792"/>
                  <a:pt x="653" y="804"/>
                  <a:pt x="685" y="804"/>
                </a:cubicBezTo>
                <a:cubicBezTo>
                  <a:pt x="717" y="804"/>
                  <a:pt x="747" y="792"/>
                  <a:pt x="769" y="769"/>
                </a:cubicBezTo>
                <a:cubicBezTo>
                  <a:pt x="796" y="742"/>
                  <a:pt x="809" y="713"/>
                  <a:pt x="807" y="681"/>
                </a:cubicBezTo>
                <a:cubicBezTo>
                  <a:pt x="805" y="643"/>
                  <a:pt x="782" y="614"/>
                  <a:pt x="772" y="603"/>
                </a:cubicBezTo>
                <a:close/>
                <a:moveTo>
                  <a:pt x="167" y="206"/>
                </a:moveTo>
                <a:cubicBezTo>
                  <a:pt x="167" y="206"/>
                  <a:pt x="167" y="206"/>
                  <a:pt x="167" y="206"/>
                </a:cubicBezTo>
                <a:cubicBezTo>
                  <a:pt x="126" y="185"/>
                  <a:pt x="126" y="185"/>
                  <a:pt x="126" y="185"/>
                </a:cubicBezTo>
                <a:cubicBezTo>
                  <a:pt x="40" y="100"/>
                  <a:pt x="40" y="100"/>
                  <a:pt x="40" y="100"/>
                </a:cubicBezTo>
                <a:cubicBezTo>
                  <a:pt x="50" y="90"/>
                  <a:pt x="50" y="90"/>
                  <a:pt x="50" y="90"/>
                </a:cubicBezTo>
                <a:cubicBezTo>
                  <a:pt x="100" y="40"/>
                  <a:pt x="100" y="40"/>
                  <a:pt x="100" y="40"/>
                </a:cubicBezTo>
                <a:cubicBezTo>
                  <a:pt x="186" y="126"/>
                  <a:pt x="186" y="126"/>
                  <a:pt x="186" y="126"/>
                </a:cubicBezTo>
                <a:cubicBezTo>
                  <a:pt x="207" y="166"/>
                  <a:pt x="207" y="166"/>
                  <a:pt x="207" y="166"/>
                </a:cubicBezTo>
                <a:cubicBezTo>
                  <a:pt x="424" y="383"/>
                  <a:pt x="424" y="383"/>
                  <a:pt x="424" y="383"/>
                </a:cubicBezTo>
                <a:cubicBezTo>
                  <a:pt x="384" y="423"/>
                  <a:pt x="384" y="423"/>
                  <a:pt x="384" y="423"/>
                </a:cubicBezTo>
                <a:lnTo>
                  <a:pt x="167" y="206"/>
                </a:lnTo>
                <a:close/>
                <a:moveTo>
                  <a:pt x="741" y="741"/>
                </a:moveTo>
                <a:cubicBezTo>
                  <a:pt x="726" y="756"/>
                  <a:pt x="706" y="764"/>
                  <a:pt x="685" y="764"/>
                </a:cubicBezTo>
                <a:cubicBezTo>
                  <a:pt x="664" y="764"/>
                  <a:pt x="644" y="756"/>
                  <a:pt x="629" y="741"/>
                </a:cubicBezTo>
                <a:cubicBezTo>
                  <a:pt x="382" y="494"/>
                  <a:pt x="382" y="494"/>
                  <a:pt x="382" y="494"/>
                </a:cubicBezTo>
                <a:cubicBezTo>
                  <a:pt x="380" y="491"/>
                  <a:pt x="380" y="489"/>
                  <a:pt x="380" y="488"/>
                </a:cubicBezTo>
                <a:cubicBezTo>
                  <a:pt x="380" y="486"/>
                  <a:pt x="380" y="484"/>
                  <a:pt x="382" y="482"/>
                </a:cubicBezTo>
                <a:cubicBezTo>
                  <a:pt x="481" y="382"/>
                  <a:pt x="481" y="382"/>
                  <a:pt x="481" y="382"/>
                </a:cubicBezTo>
                <a:cubicBezTo>
                  <a:pt x="482" y="382"/>
                  <a:pt x="482" y="382"/>
                  <a:pt x="482" y="381"/>
                </a:cubicBezTo>
                <a:cubicBezTo>
                  <a:pt x="484" y="379"/>
                  <a:pt x="487" y="379"/>
                  <a:pt x="488" y="379"/>
                </a:cubicBezTo>
                <a:cubicBezTo>
                  <a:pt x="489" y="379"/>
                  <a:pt x="492" y="379"/>
                  <a:pt x="494" y="381"/>
                </a:cubicBezTo>
                <a:cubicBezTo>
                  <a:pt x="739" y="626"/>
                  <a:pt x="739" y="626"/>
                  <a:pt x="739" y="626"/>
                </a:cubicBezTo>
                <a:cubicBezTo>
                  <a:pt x="740" y="627"/>
                  <a:pt x="740" y="628"/>
                  <a:pt x="741" y="629"/>
                </a:cubicBezTo>
                <a:cubicBezTo>
                  <a:pt x="742" y="630"/>
                  <a:pt x="767" y="655"/>
                  <a:pt x="767" y="686"/>
                </a:cubicBezTo>
                <a:cubicBezTo>
                  <a:pt x="767" y="705"/>
                  <a:pt x="758" y="723"/>
                  <a:pt x="741" y="74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Freeform 30">
            <a:extLst>
              <a:ext uri="{FF2B5EF4-FFF2-40B4-BE49-F238E27FC236}">
                <a16:creationId xmlns:a16="http://schemas.microsoft.com/office/drawing/2014/main" id="{31C022F8-F645-4720-AC53-E68A60F25D9D}"/>
              </a:ext>
            </a:extLst>
          </p:cNvPr>
          <p:cNvSpPr>
            <a:spLocks noEditPoints="1"/>
          </p:cNvSpPr>
          <p:nvPr/>
        </p:nvSpPr>
        <p:spPr bwMode="auto">
          <a:xfrm>
            <a:off x="4867817" y="4163220"/>
            <a:ext cx="2125772" cy="1336092"/>
          </a:xfrm>
          <a:custGeom>
            <a:avLst/>
            <a:gdLst>
              <a:gd name="T0" fmla="*/ 466 w 800"/>
              <a:gd name="T1" fmla="*/ 40 h 534"/>
              <a:gd name="T2" fmla="*/ 650 w 800"/>
              <a:gd name="T3" fmla="*/ 190 h 534"/>
              <a:gd name="T4" fmla="*/ 655 w 800"/>
              <a:gd name="T5" fmla="*/ 215 h 534"/>
              <a:gd name="T6" fmla="*/ 680 w 800"/>
              <a:gd name="T7" fmla="*/ 221 h 534"/>
              <a:gd name="T8" fmla="*/ 760 w 800"/>
              <a:gd name="T9" fmla="*/ 323 h 534"/>
              <a:gd name="T10" fmla="*/ 653 w 800"/>
              <a:gd name="T11" fmla="*/ 429 h 534"/>
              <a:gd name="T12" fmla="*/ 641 w 800"/>
              <a:gd name="T13" fmla="*/ 428 h 534"/>
              <a:gd name="T14" fmla="*/ 622 w 800"/>
              <a:gd name="T15" fmla="*/ 426 h 534"/>
              <a:gd name="T16" fmla="*/ 608 w 800"/>
              <a:gd name="T17" fmla="*/ 440 h 534"/>
              <a:gd name="T18" fmla="*/ 535 w 800"/>
              <a:gd name="T19" fmla="*/ 471 h 534"/>
              <a:gd name="T20" fmla="*/ 491 w 800"/>
              <a:gd name="T21" fmla="*/ 461 h 534"/>
              <a:gd name="T22" fmla="*/ 472 w 800"/>
              <a:gd name="T23" fmla="*/ 452 h 534"/>
              <a:gd name="T24" fmla="*/ 454 w 800"/>
              <a:gd name="T25" fmla="*/ 463 h 534"/>
              <a:gd name="T26" fmla="*/ 341 w 800"/>
              <a:gd name="T27" fmla="*/ 494 h 534"/>
              <a:gd name="T28" fmla="*/ 191 w 800"/>
              <a:gd name="T29" fmla="*/ 436 h 534"/>
              <a:gd name="T30" fmla="*/ 176 w 800"/>
              <a:gd name="T31" fmla="*/ 422 h 534"/>
              <a:gd name="T32" fmla="*/ 156 w 800"/>
              <a:gd name="T33" fmla="*/ 426 h 534"/>
              <a:gd name="T34" fmla="*/ 136 w 800"/>
              <a:gd name="T35" fmla="*/ 428 h 534"/>
              <a:gd name="T36" fmla="*/ 40 w 800"/>
              <a:gd name="T37" fmla="*/ 333 h 534"/>
              <a:gd name="T38" fmla="*/ 117 w 800"/>
              <a:gd name="T39" fmla="*/ 239 h 534"/>
              <a:gd name="T40" fmla="*/ 144 w 800"/>
              <a:gd name="T41" fmla="*/ 233 h 534"/>
              <a:gd name="T42" fmla="*/ 148 w 800"/>
              <a:gd name="T43" fmla="*/ 206 h 534"/>
              <a:gd name="T44" fmla="*/ 237 w 800"/>
              <a:gd name="T45" fmla="*/ 130 h 534"/>
              <a:gd name="T46" fmla="*/ 267 w 800"/>
              <a:gd name="T47" fmla="*/ 135 h 534"/>
              <a:gd name="T48" fmla="*/ 295 w 800"/>
              <a:gd name="T49" fmla="*/ 145 h 534"/>
              <a:gd name="T50" fmla="*/ 312 w 800"/>
              <a:gd name="T51" fmla="*/ 120 h 534"/>
              <a:gd name="T52" fmla="*/ 466 w 800"/>
              <a:gd name="T53" fmla="*/ 40 h 534"/>
              <a:gd name="T54" fmla="*/ 466 w 800"/>
              <a:gd name="T55" fmla="*/ 0 h 534"/>
              <a:gd name="T56" fmla="*/ 280 w 800"/>
              <a:gd name="T57" fmla="*/ 97 h 534"/>
              <a:gd name="T58" fmla="*/ 237 w 800"/>
              <a:gd name="T59" fmla="*/ 90 h 534"/>
              <a:gd name="T60" fmla="*/ 109 w 800"/>
              <a:gd name="T61" fmla="*/ 200 h 534"/>
              <a:gd name="T62" fmla="*/ 0 w 800"/>
              <a:gd name="T63" fmla="*/ 333 h 534"/>
              <a:gd name="T64" fmla="*/ 136 w 800"/>
              <a:gd name="T65" fmla="*/ 468 h 534"/>
              <a:gd name="T66" fmla="*/ 164 w 800"/>
              <a:gd name="T67" fmla="*/ 465 h 534"/>
              <a:gd name="T68" fmla="*/ 341 w 800"/>
              <a:gd name="T69" fmla="*/ 534 h 534"/>
              <a:gd name="T70" fmla="*/ 474 w 800"/>
              <a:gd name="T71" fmla="*/ 497 h 534"/>
              <a:gd name="T72" fmla="*/ 535 w 800"/>
              <a:gd name="T73" fmla="*/ 511 h 534"/>
              <a:gd name="T74" fmla="*/ 637 w 800"/>
              <a:gd name="T75" fmla="*/ 468 h 534"/>
              <a:gd name="T76" fmla="*/ 653 w 800"/>
              <a:gd name="T77" fmla="*/ 469 h 534"/>
              <a:gd name="T78" fmla="*/ 800 w 800"/>
              <a:gd name="T79" fmla="*/ 323 h 534"/>
              <a:gd name="T80" fmla="*/ 690 w 800"/>
              <a:gd name="T81" fmla="*/ 182 h 534"/>
              <a:gd name="T82" fmla="*/ 466 w 800"/>
              <a:gd name="T83" fmla="*/ 0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00" h="534">
                <a:moveTo>
                  <a:pt x="466" y="40"/>
                </a:moveTo>
                <a:cubicBezTo>
                  <a:pt x="556" y="40"/>
                  <a:pt x="633" y="103"/>
                  <a:pt x="650" y="190"/>
                </a:cubicBezTo>
                <a:cubicBezTo>
                  <a:pt x="655" y="215"/>
                  <a:pt x="655" y="215"/>
                  <a:pt x="655" y="215"/>
                </a:cubicBezTo>
                <a:cubicBezTo>
                  <a:pt x="680" y="221"/>
                  <a:pt x="680" y="221"/>
                  <a:pt x="680" y="221"/>
                </a:cubicBezTo>
                <a:cubicBezTo>
                  <a:pt x="727" y="233"/>
                  <a:pt x="760" y="275"/>
                  <a:pt x="760" y="323"/>
                </a:cubicBezTo>
                <a:cubicBezTo>
                  <a:pt x="760" y="382"/>
                  <a:pt x="712" y="429"/>
                  <a:pt x="653" y="429"/>
                </a:cubicBezTo>
                <a:cubicBezTo>
                  <a:pt x="649" y="429"/>
                  <a:pt x="645" y="429"/>
                  <a:pt x="641" y="428"/>
                </a:cubicBezTo>
                <a:cubicBezTo>
                  <a:pt x="622" y="426"/>
                  <a:pt x="622" y="426"/>
                  <a:pt x="622" y="426"/>
                </a:cubicBezTo>
                <a:cubicBezTo>
                  <a:pt x="608" y="440"/>
                  <a:pt x="608" y="440"/>
                  <a:pt x="608" y="440"/>
                </a:cubicBezTo>
                <a:cubicBezTo>
                  <a:pt x="589" y="460"/>
                  <a:pt x="563" y="471"/>
                  <a:pt x="535" y="471"/>
                </a:cubicBezTo>
                <a:cubicBezTo>
                  <a:pt x="519" y="471"/>
                  <a:pt x="505" y="468"/>
                  <a:pt x="491" y="461"/>
                </a:cubicBezTo>
                <a:cubicBezTo>
                  <a:pt x="472" y="452"/>
                  <a:pt x="472" y="452"/>
                  <a:pt x="472" y="452"/>
                </a:cubicBezTo>
                <a:cubicBezTo>
                  <a:pt x="454" y="463"/>
                  <a:pt x="454" y="463"/>
                  <a:pt x="454" y="463"/>
                </a:cubicBezTo>
                <a:cubicBezTo>
                  <a:pt x="420" y="483"/>
                  <a:pt x="381" y="494"/>
                  <a:pt x="341" y="494"/>
                </a:cubicBezTo>
                <a:cubicBezTo>
                  <a:pt x="285" y="494"/>
                  <a:pt x="232" y="473"/>
                  <a:pt x="191" y="436"/>
                </a:cubicBezTo>
                <a:cubicBezTo>
                  <a:pt x="176" y="422"/>
                  <a:pt x="176" y="422"/>
                  <a:pt x="176" y="422"/>
                </a:cubicBezTo>
                <a:cubicBezTo>
                  <a:pt x="156" y="426"/>
                  <a:pt x="156" y="426"/>
                  <a:pt x="156" y="426"/>
                </a:cubicBezTo>
                <a:cubicBezTo>
                  <a:pt x="150" y="428"/>
                  <a:pt x="143" y="428"/>
                  <a:pt x="136" y="428"/>
                </a:cubicBezTo>
                <a:cubicBezTo>
                  <a:pt x="83" y="428"/>
                  <a:pt x="40" y="385"/>
                  <a:pt x="40" y="333"/>
                </a:cubicBezTo>
                <a:cubicBezTo>
                  <a:pt x="40" y="287"/>
                  <a:pt x="72" y="248"/>
                  <a:pt x="117" y="239"/>
                </a:cubicBezTo>
                <a:cubicBezTo>
                  <a:pt x="144" y="233"/>
                  <a:pt x="144" y="233"/>
                  <a:pt x="144" y="233"/>
                </a:cubicBezTo>
                <a:cubicBezTo>
                  <a:pt x="148" y="206"/>
                  <a:pt x="148" y="206"/>
                  <a:pt x="148" y="206"/>
                </a:cubicBezTo>
                <a:cubicBezTo>
                  <a:pt x="155" y="162"/>
                  <a:pt x="193" y="130"/>
                  <a:pt x="237" y="130"/>
                </a:cubicBezTo>
                <a:cubicBezTo>
                  <a:pt x="247" y="130"/>
                  <a:pt x="257" y="131"/>
                  <a:pt x="267" y="135"/>
                </a:cubicBezTo>
                <a:cubicBezTo>
                  <a:pt x="295" y="145"/>
                  <a:pt x="295" y="145"/>
                  <a:pt x="295" y="145"/>
                </a:cubicBezTo>
                <a:cubicBezTo>
                  <a:pt x="312" y="120"/>
                  <a:pt x="312" y="120"/>
                  <a:pt x="312" y="120"/>
                </a:cubicBezTo>
                <a:cubicBezTo>
                  <a:pt x="348" y="70"/>
                  <a:pt x="405" y="40"/>
                  <a:pt x="466" y="40"/>
                </a:cubicBezTo>
                <a:moveTo>
                  <a:pt x="466" y="0"/>
                </a:moveTo>
                <a:cubicBezTo>
                  <a:pt x="391" y="0"/>
                  <a:pt x="322" y="37"/>
                  <a:pt x="280" y="97"/>
                </a:cubicBezTo>
                <a:cubicBezTo>
                  <a:pt x="266" y="92"/>
                  <a:pt x="252" y="90"/>
                  <a:pt x="237" y="90"/>
                </a:cubicBezTo>
                <a:cubicBezTo>
                  <a:pt x="172" y="90"/>
                  <a:pt x="118" y="138"/>
                  <a:pt x="109" y="200"/>
                </a:cubicBezTo>
                <a:cubicBezTo>
                  <a:pt x="47" y="212"/>
                  <a:pt x="0" y="268"/>
                  <a:pt x="0" y="333"/>
                </a:cubicBezTo>
                <a:cubicBezTo>
                  <a:pt x="0" y="407"/>
                  <a:pt x="61" y="468"/>
                  <a:pt x="136" y="468"/>
                </a:cubicBezTo>
                <a:cubicBezTo>
                  <a:pt x="146" y="468"/>
                  <a:pt x="155" y="467"/>
                  <a:pt x="164" y="465"/>
                </a:cubicBezTo>
                <a:cubicBezTo>
                  <a:pt x="213" y="509"/>
                  <a:pt x="275" y="534"/>
                  <a:pt x="341" y="534"/>
                </a:cubicBezTo>
                <a:cubicBezTo>
                  <a:pt x="388" y="534"/>
                  <a:pt x="434" y="521"/>
                  <a:pt x="474" y="497"/>
                </a:cubicBezTo>
                <a:cubicBezTo>
                  <a:pt x="493" y="506"/>
                  <a:pt x="514" y="511"/>
                  <a:pt x="535" y="511"/>
                </a:cubicBezTo>
                <a:cubicBezTo>
                  <a:pt x="574" y="511"/>
                  <a:pt x="610" y="495"/>
                  <a:pt x="637" y="468"/>
                </a:cubicBezTo>
                <a:cubicBezTo>
                  <a:pt x="642" y="469"/>
                  <a:pt x="648" y="469"/>
                  <a:pt x="653" y="469"/>
                </a:cubicBezTo>
                <a:cubicBezTo>
                  <a:pt x="734" y="469"/>
                  <a:pt x="800" y="404"/>
                  <a:pt x="800" y="323"/>
                </a:cubicBezTo>
                <a:cubicBezTo>
                  <a:pt x="800" y="256"/>
                  <a:pt x="754" y="198"/>
                  <a:pt x="690" y="182"/>
                </a:cubicBezTo>
                <a:cubicBezTo>
                  <a:pt x="669" y="77"/>
                  <a:pt x="576" y="0"/>
                  <a:pt x="466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Cloud</a:t>
            </a:r>
          </a:p>
        </p:txBody>
      </p:sp>
      <p:sp>
        <p:nvSpPr>
          <p:cNvPr id="7" name="Freeform 50">
            <a:extLst>
              <a:ext uri="{FF2B5EF4-FFF2-40B4-BE49-F238E27FC236}">
                <a16:creationId xmlns:a16="http://schemas.microsoft.com/office/drawing/2014/main" id="{147EFF5B-1D7C-4C07-894A-59DFE2CF88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8145" y="1180461"/>
            <a:ext cx="1491836" cy="1482474"/>
          </a:xfrm>
          <a:custGeom>
            <a:avLst/>
            <a:gdLst>
              <a:gd name="T0" fmla="*/ 720 w 747"/>
              <a:gd name="T1" fmla="*/ 0 h 746"/>
              <a:gd name="T2" fmla="*/ 174 w 747"/>
              <a:gd name="T3" fmla="*/ 0 h 746"/>
              <a:gd name="T4" fmla="*/ 147 w 747"/>
              <a:gd name="T5" fmla="*/ 26 h 746"/>
              <a:gd name="T6" fmla="*/ 147 w 747"/>
              <a:gd name="T7" fmla="*/ 426 h 746"/>
              <a:gd name="T8" fmla="*/ 174 w 747"/>
              <a:gd name="T9" fmla="*/ 453 h 746"/>
              <a:gd name="T10" fmla="*/ 307 w 747"/>
              <a:gd name="T11" fmla="*/ 453 h 746"/>
              <a:gd name="T12" fmla="*/ 307 w 747"/>
              <a:gd name="T13" fmla="*/ 560 h 746"/>
              <a:gd name="T14" fmla="*/ 40 w 747"/>
              <a:gd name="T15" fmla="*/ 560 h 746"/>
              <a:gd name="T16" fmla="*/ 40 w 747"/>
              <a:gd name="T17" fmla="*/ 186 h 746"/>
              <a:gd name="T18" fmla="*/ 120 w 747"/>
              <a:gd name="T19" fmla="*/ 186 h 746"/>
              <a:gd name="T20" fmla="*/ 120 w 747"/>
              <a:gd name="T21" fmla="*/ 146 h 746"/>
              <a:gd name="T22" fmla="*/ 27 w 747"/>
              <a:gd name="T23" fmla="*/ 146 h 746"/>
              <a:gd name="T24" fmla="*/ 0 w 747"/>
              <a:gd name="T25" fmla="*/ 173 h 746"/>
              <a:gd name="T26" fmla="*/ 0 w 747"/>
              <a:gd name="T27" fmla="*/ 573 h 746"/>
              <a:gd name="T28" fmla="*/ 27 w 747"/>
              <a:gd name="T29" fmla="*/ 600 h 746"/>
              <a:gd name="T30" fmla="*/ 307 w 747"/>
              <a:gd name="T31" fmla="*/ 600 h 746"/>
              <a:gd name="T32" fmla="*/ 454 w 747"/>
              <a:gd name="T33" fmla="*/ 746 h 746"/>
              <a:gd name="T34" fmla="*/ 454 w 747"/>
              <a:gd name="T35" fmla="*/ 600 h 746"/>
              <a:gd name="T36" fmla="*/ 574 w 747"/>
              <a:gd name="T37" fmla="*/ 600 h 746"/>
              <a:gd name="T38" fmla="*/ 600 w 747"/>
              <a:gd name="T39" fmla="*/ 573 h 746"/>
              <a:gd name="T40" fmla="*/ 600 w 747"/>
              <a:gd name="T41" fmla="*/ 480 h 746"/>
              <a:gd name="T42" fmla="*/ 560 w 747"/>
              <a:gd name="T43" fmla="*/ 480 h 746"/>
              <a:gd name="T44" fmla="*/ 560 w 747"/>
              <a:gd name="T45" fmla="*/ 560 h 746"/>
              <a:gd name="T46" fmla="*/ 414 w 747"/>
              <a:gd name="T47" fmla="*/ 560 h 746"/>
              <a:gd name="T48" fmla="*/ 414 w 747"/>
              <a:gd name="T49" fmla="*/ 650 h 746"/>
              <a:gd name="T50" fmla="*/ 335 w 747"/>
              <a:gd name="T51" fmla="*/ 571 h 746"/>
              <a:gd name="T52" fmla="*/ 454 w 747"/>
              <a:gd name="T53" fmla="*/ 453 h 746"/>
              <a:gd name="T54" fmla="*/ 720 w 747"/>
              <a:gd name="T55" fmla="*/ 453 h 746"/>
              <a:gd name="T56" fmla="*/ 747 w 747"/>
              <a:gd name="T57" fmla="*/ 426 h 746"/>
              <a:gd name="T58" fmla="*/ 747 w 747"/>
              <a:gd name="T59" fmla="*/ 26 h 746"/>
              <a:gd name="T60" fmla="*/ 720 w 747"/>
              <a:gd name="T61" fmla="*/ 0 h 746"/>
              <a:gd name="T62" fmla="*/ 707 w 747"/>
              <a:gd name="T63" fmla="*/ 413 h 746"/>
              <a:gd name="T64" fmla="*/ 437 w 747"/>
              <a:gd name="T65" fmla="*/ 413 h 746"/>
              <a:gd name="T66" fmla="*/ 347 w 747"/>
              <a:gd name="T67" fmla="*/ 503 h 746"/>
              <a:gd name="T68" fmla="*/ 347 w 747"/>
              <a:gd name="T69" fmla="*/ 413 h 746"/>
              <a:gd name="T70" fmla="*/ 187 w 747"/>
              <a:gd name="T71" fmla="*/ 413 h 746"/>
              <a:gd name="T72" fmla="*/ 187 w 747"/>
              <a:gd name="T73" fmla="*/ 40 h 746"/>
              <a:gd name="T74" fmla="*/ 707 w 747"/>
              <a:gd name="T75" fmla="*/ 40 h 746"/>
              <a:gd name="T76" fmla="*/ 707 w 747"/>
              <a:gd name="T77" fmla="*/ 413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47" h="746">
                <a:moveTo>
                  <a:pt x="720" y="0"/>
                </a:moveTo>
                <a:cubicBezTo>
                  <a:pt x="174" y="0"/>
                  <a:pt x="174" y="0"/>
                  <a:pt x="174" y="0"/>
                </a:cubicBezTo>
                <a:cubicBezTo>
                  <a:pt x="159" y="0"/>
                  <a:pt x="147" y="12"/>
                  <a:pt x="147" y="26"/>
                </a:cubicBezTo>
                <a:cubicBezTo>
                  <a:pt x="147" y="426"/>
                  <a:pt x="147" y="426"/>
                  <a:pt x="147" y="426"/>
                </a:cubicBezTo>
                <a:cubicBezTo>
                  <a:pt x="147" y="441"/>
                  <a:pt x="159" y="453"/>
                  <a:pt x="174" y="453"/>
                </a:cubicBezTo>
                <a:cubicBezTo>
                  <a:pt x="307" y="453"/>
                  <a:pt x="307" y="453"/>
                  <a:pt x="307" y="453"/>
                </a:cubicBezTo>
                <a:cubicBezTo>
                  <a:pt x="307" y="560"/>
                  <a:pt x="307" y="560"/>
                  <a:pt x="307" y="560"/>
                </a:cubicBezTo>
                <a:cubicBezTo>
                  <a:pt x="40" y="560"/>
                  <a:pt x="40" y="560"/>
                  <a:pt x="40" y="560"/>
                </a:cubicBezTo>
                <a:cubicBezTo>
                  <a:pt x="40" y="186"/>
                  <a:pt x="40" y="186"/>
                  <a:pt x="40" y="186"/>
                </a:cubicBezTo>
                <a:cubicBezTo>
                  <a:pt x="120" y="186"/>
                  <a:pt x="120" y="186"/>
                  <a:pt x="120" y="186"/>
                </a:cubicBezTo>
                <a:cubicBezTo>
                  <a:pt x="120" y="146"/>
                  <a:pt x="120" y="146"/>
                  <a:pt x="120" y="146"/>
                </a:cubicBezTo>
                <a:cubicBezTo>
                  <a:pt x="27" y="146"/>
                  <a:pt x="27" y="146"/>
                  <a:pt x="27" y="146"/>
                </a:cubicBezTo>
                <a:cubicBezTo>
                  <a:pt x="12" y="146"/>
                  <a:pt x="0" y="158"/>
                  <a:pt x="0" y="173"/>
                </a:cubicBezTo>
                <a:cubicBezTo>
                  <a:pt x="0" y="573"/>
                  <a:pt x="0" y="573"/>
                  <a:pt x="0" y="573"/>
                </a:cubicBezTo>
                <a:cubicBezTo>
                  <a:pt x="0" y="588"/>
                  <a:pt x="12" y="600"/>
                  <a:pt x="27" y="600"/>
                </a:cubicBezTo>
                <a:cubicBezTo>
                  <a:pt x="307" y="600"/>
                  <a:pt x="307" y="600"/>
                  <a:pt x="307" y="600"/>
                </a:cubicBezTo>
                <a:cubicBezTo>
                  <a:pt x="454" y="746"/>
                  <a:pt x="454" y="746"/>
                  <a:pt x="454" y="746"/>
                </a:cubicBezTo>
                <a:cubicBezTo>
                  <a:pt x="454" y="600"/>
                  <a:pt x="454" y="600"/>
                  <a:pt x="454" y="600"/>
                </a:cubicBezTo>
                <a:cubicBezTo>
                  <a:pt x="574" y="600"/>
                  <a:pt x="574" y="600"/>
                  <a:pt x="574" y="600"/>
                </a:cubicBezTo>
                <a:cubicBezTo>
                  <a:pt x="588" y="600"/>
                  <a:pt x="600" y="588"/>
                  <a:pt x="600" y="573"/>
                </a:cubicBezTo>
                <a:cubicBezTo>
                  <a:pt x="600" y="480"/>
                  <a:pt x="600" y="480"/>
                  <a:pt x="600" y="480"/>
                </a:cubicBezTo>
                <a:cubicBezTo>
                  <a:pt x="560" y="480"/>
                  <a:pt x="560" y="480"/>
                  <a:pt x="560" y="480"/>
                </a:cubicBezTo>
                <a:cubicBezTo>
                  <a:pt x="560" y="560"/>
                  <a:pt x="560" y="560"/>
                  <a:pt x="560" y="560"/>
                </a:cubicBezTo>
                <a:cubicBezTo>
                  <a:pt x="414" y="560"/>
                  <a:pt x="414" y="560"/>
                  <a:pt x="414" y="560"/>
                </a:cubicBezTo>
                <a:cubicBezTo>
                  <a:pt x="414" y="650"/>
                  <a:pt x="414" y="650"/>
                  <a:pt x="414" y="650"/>
                </a:cubicBezTo>
                <a:cubicBezTo>
                  <a:pt x="335" y="571"/>
                  <a:pt x="335" y="571"/>
                  <a:pt x="335" y="571"/>
                </a:cubicBezTo>
                <a:cubicBezTo>
                  <a:pt x="454" y="453"/>
                  <a:pt x="454" y="453"/>
                  <a:pt x="454" y="453"/>
                </a:cubicBezTo>
                <a:cubicBezTo>
                  <a:pt x="720" y="453"/>
                  <a:pt x="720" y="453"/>
                  <a:pt x="720" y="453"/>
                </a:cubicBezTo>
                <a:cubicBezTo>
                  <a:pt x="735" y="453"/>
                  <a:pt x="747" y="441"/>
                  <a:pt x="747" y="426"/>
                </a:cubicBezTo>
                <a:cubicBezTo>
                  <a:pt x="747" y="26"/>
                  <a:pt x="747" y="26"/>
                  <a:pt x="747" y="26"/>
                </a:cubicBezTo>
                <a:cubicBezTo>
                  <a:pt x="747" y="12"/>
                  <a:pt x="735" y="0"/>
                  <a:pt x="720" y="0"/>
                </a:cubicBezTo>
                <a:close/>
                <a:moveTo>
                  <a:pt x="707" y="413"/>
                </a:moveTo>
                <a:cubicBezTo>
                  <a:pt x="437" y="413"/>
                  <a:pt x="437" y="413"/>
                  <a:pt x="437" y="413"/>
                </a:cubicBezTo>
                <a:cubicBezTo>
                  <a:pt x="347" y="503"/>
                  <a:pt x="347" y="503"/>
                  <a:pt x="347" y="503"/>
                </a:cubicBezTo>
                <a:cubicBezTo>
                  <a:pt x="347" y="413"/>
                  <a:pt x="347" y="413"/>
                  <a:pt x="347" y="413"/>
                </a:cubicBezTo>
                <a:cubicBezTo>
                  <a:pt x="187" y="413"/>
                  <a:pt x="187" y="413"/>
                  <a:pt x="187" y="413"/>
                </a:cubicBezTo>
                <a:cubicBezTo>
                  <a:pt x="187" y="40"/>
                  <a:pt x="187" y="40"/>
                  <a:pt x="187" y="40"/>
                </a:cubicBezTo>
                <a:cubicBezTo>
                  <a:pt x="707" y="40"/>
                  <a:pt x="707" y="40"/>
                  <a:pt x="707" y="40"/>
                </a:cubicBezTo>
                <a:lnTo>
                  <a:pt x="707" y="41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Alexa</a:t>
            </a:r>
          </a:p>
        </p:txBody>
      </p:sp>
      <p:sp>
        <p:nvSpPr>
          <p:cNvPr id="8" name="Freeform 92">
            <a:extLst>
              <a:ext uri="{FF2B5EF4-FFF2-40B4-BE49-F238E27FC236}">
                <a16:creationId xmlns:a16="http://schemas.microsoft.com/office/drawing/2014/main" id="{CE0F9FCD-D571-4469-A9D0-85CA0CC453A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68862" y="3483329"/>
            <a:ext cx="1359783" cy="1359783"/>
          </a:xfrm>
          <a:custGeom>
            <a:avLst/>
            <a:gdLst>
              <a:gd name="T0" fmla="*/ 693 w 693"/>
              <a:gd name="T1" fmla="*/ 27 h 693"/>
              <a:gd name="T2" fmla="*/ 0 w 693"/>
              <a:gd name="T3" fmla="*/ 27 h 693"/>
              <a:gd name="T4" fmla="*/ 40 w 693"/>
              <a:gd name="T5" fmla="*/ 213 h 693"/>
              <a:gd name="T6" fmla="*/ 0 w 693"/>
              <a:gd name="T7" fmla="*/ 266 h 693"/>
              <a:gd name="T8" fmla="*/ 40 w 693"/>
              <a:gd name="T9" fmla="*/ 453 h 693"/>
              <a:gd name="T10" fmla="*/ 0 w 693"/>
              <a:gd name="T11" fmla="*/ 506 h 693"/>
              <a:gd name="T12" fmla="*/ 667 w 693"/>
              <a:gd name="T13" fmla="*/ 693 h 693"/>
              <a:gd name="T14" fmla="*/ 667 w 693"/>
              <a:gd name="T15" fmla="*/ 479 h 693"/>
              <a:gd name="T16" fmla="*/ 667 w 693"/>
              <a:gd name="T17" fmla="*/ 453 h 693"/>
              <a:gd name="T18" fmla="*/ 667 w 693"/>
              <a:gd name="T19" fmla="*/ 239 h 693"/>
              <a:gd name="T20" fmla="*/ 667 w 693"/>
              <a:gd name="T21" fmla="*/ 213 h 693"/>
              <a:gd name="T22" fmla="*/ 40 w 693"/>
              <a:gd name="T23" fmla="*/ 519 h 693"/>
              <a:gd name="T24" fmla="*/ 653 w 693"/>
              <a:gd name="T25" fmla="*/ 413 h 693"/>
              <a:gd name="T26" fmla="*/ 653 w 693"/>
              <a:gd name="T27" fmla="*/ 279 h 693"/>
              <a:gd name="T28" fmla="*/ 40 w 693"/>
              <a:gd name="T29" fmla="*/ 40 h 693"/>
              <a:gd name="T30" fmla="*/ 40 w 693"/>
              <a:gd name="T31" fmla="*/ 173 h 693"/>
              <a:gd name="T32" fmla="*/ 180 w 693"/>
              <a:gd name="T33" fmla="*/ 93 h 693"/>
              <a:gd name="T34" fmla="*/ 180 w 693"/>
              <a:gd name="T35" fmla="*/ 119 h 693"/>
              <a:gd name="T36" fmla="*/ 200 w 693"/>
              <a:gd name="T37" fmla="*/ 139 h 693"/>
              <a:gd name="T38" fmla="*/ 80 w 693"/>
              <a:gd name="T39" fmla="*/ 73 h 693"/>
              <a:gd name="T40" fmla="*/ 100 w 693"/>
              <a:gd name="T41" fmla="*/ 53 h 693"/>
              <a:gd name="T42" fmla="*/ 100 w 693"/>
              <a:gd name="T43" fmla="*/ 159 h 693"/>
              <a:gd name="T44" fmla="*/ 260 w 693"/>
              <a:gd name="T45" fmla="*/ 119 h 693"/>
              <a:gd name="T46" fmla="*/ 280 w 693"/>
              <a:gd name="T47" fmla="*/ 139 h 693"/>
              <a:gd name="T48" fmla="*/ 320 w 693"/>
              <a:gd name="T49" fmla="*/ 73 h 693"/>
              <a:gd name="T50" fmla="*/ 340 w 693"/>
              <a:gd name="T51" fmla="*/ 53 h 693"/>
              <a:gd name="T52" fmla="*/ 340 w 693"/>
              <a:gd name="T53" fmla="*/ 159 h 693"/>
              <a:gd name="T54" fmla="*/ 260 w 693"/>
              <a:gd name="T55" fmla="*/ 53 h 693"/>
              <a:gd name="T56" fmla="*/ 280 w 693"/>
              <a:gd name="T57" fmla="*/ 73 h 693"/>
              <a:gd name="T58" fmla="*/ 280 w 693"/>
              <a:gd name="T59" fmla="*/ 379 h 693"/>
              <a:gd name="T60" fmla="*/ 260 w 693"/>
              <a:gd name="T61" fmla="*/ 399 h 693"/>
              <a:gd name="T62" fmla="*/ 340 w 693"/>
              <a:gd name="T63" fmla="*/ 359 h 693"/>
              <a:gd name="T64" fmla="*/ 260 w 693"/>
              <a:gd name="T65" fmla="*/ 333 h 693"/>
              <a:gd name="T66" fmla="*/ 240 w 693"/>
              <a:gd name="T67" fmla="*/ 313 h 693"/>
              <a:gd name="T68" fmla="*/ 360 w 693"/>
              <a:gd name="T69" fmla="*/ 313 h 693"/>
              <a:gd name="T70" fmla="*/ 340 w 693"/>
              <a:gd name="T71" fmla="*/ 333 h 693"/>
              <a:gd name="T72" fmla="*/ 100 w 693"/>
              <a:gd name="T73" fmla="*/ 359 h 693"/>
              <a:gd name="T74" fmla="*/ 180 w 693"/>
              <a:gd name="T75" fmla="*/ 333 h 693"/>
              <a:gd name="T76" fmla="*/ 160 w 693"/>
              <a:gd name="T77" fmla="*/ 313 h 693"/>
              <a:gd name="T78" fmla="*/ 120 w 693"/>
              <a:gd name="T79" fmla="*/ 313 h 693"/>
              <a:gd name="T80" fmla="*/ 100 w 693"/>
              <a:gd name="T81" fmla="*/ 333 h 693"/>
              <a:gd name="T82" fmla="*/ 180 w 693"/>
              <a:gd name="T83" fmla="*/ 359 h 693"/>
              <a:gd name="T84" fmla="*/ 260 w 693"/>
              <a:gd name="T85" fmla="*/ 639 h 693"/>
              <a:gd name="T86" fmla="*/ 240 w 693"/>
              <a:gd name="T87" fmla="*/ 619 h 693"/>
              <a:gd name="T88" fmla="*/ 280 w 693"/>
              <a:gd name="T89" fmla="*/ 553 h 693"/>
              <a:gd name="T90" fmla="*/ 260 w 693"/>
              <a:gd name="T91" fmla="*/ 573 h 693"/>
              <a:gd name="T92" fmla="*/ 180 w 693"/>
              <a:gd name="T93" fmla="*/ 533 h 693"/>
              <a:gd name="T94" fmla="*/ 340 w 693"/>
              <a:gd name="T95" fmla="*/ 639 h 693"/>
              <a:gd name="T96" fmla="*/ 320 w 693"/>
              <a:gd name="T97" fmla="*/ 619 h 693"/>
              <a:gd name="T98" fmla="*/ 360 w 693"/>
              <a:gd name="T99" fmla="*/ 553 h 693"/>
              <a:gd name="T100" fmla="*/ 340 w 693"/>
              <a:gd name="T101" fmla="*/ 573 h 693"/>
              <a:gd name="T102" fmla="*/ 100 w 693"/>
              <a:gd name="T103" fmla="*/ 599 h 693"/>
              <a:gd name="T104" fmla="*/ 180 w 693"/>
              <a:gd name="T105" fmla="*/ 639 h 693"/>
              <a:gd name="T106" fmla="*/ 160 w 693"/>
              <a:gd name="T107" fmla="*/ 619 h 693"/>
              <a:gd name="T108" fmla="*/ 120 w 693"/>
              <a:gd name="T109" fmla="*/ 553 h 693"/>
              <a:gd name="T110" fmla="*/ 100 w 693"/>
              <a:gd name="T111" fmla="*/ 573 h 693"/>
              <a:gd name="T112" fmla="*/ 587 w 693"/>
              <a:gd name="T113" fmla="*/ 306 h 693"/>
              <a:gd name="T114" fmla="*/ 587 w 693"/>
              <a:gd name="T115" fmla="*/ 626 h 693"/>
              <a:gd name="T116" fmla="*/ 547 w 693"/>
              <a:gd name="T117" fmla="*/ 586 h 693"/>
              <a:gd name="T118" fmla="*/ 547 w 693"/>
              <a:gd name="T119" fmla="*/ 106 h 693"/>
              <a:gd name="T120" fmla="*/ 587 w 693"/>
              <a:gd name="T121" fmla="*/ 66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93" h="693">
                <a:moveTo>
                  <a:pt x="667" y="213"/>
                </a:moveTo>
                <a:cubicBezTo>
                  <a:pt x="681" y="213"/>
                  <a:pt x="693" y="201"/>
                  <a:pt x="693" y="186"/>
                </a:cubicBezTo>
                <a:cubicBezTo>
                  <a:pt x="693" y="27"/>
                  <a:pt x="693" y="27"/>
                  <a:pt x="693" y="27"/>
                </a:cubicBezTo>
                <a:cubicBezTo>
                  <a:pt x="693" y="12"/>
                  <a:pt x="681" y="0"/>
                  <a:pt x="66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186"/>
                  <a:pt x="0" y="186"/>
                  <a:pt x="0" y="186"/>
                </a:cubicBezTo>
                <a:cubicBezTo>
                  <a:pt x="0" y="201"/>
                  <a:pt x="12" y="213"/>
                  <a:pt x="27" y="213"/>
                </a:cubicBezTo>
                <a:cubicBezTo>
                  <a:pt x="40" y="213"/>
                  <a:pt x="40" y="213"/>
                  <a:pt x="40" y="213"/>
                </a:cubicBezTo>
                <a:cubicBezTo>
                  <a:pt x="40" y="239"/>
                  <a:pt x="40" y="239"/>
                  <a:pt x="40" y="239"/>
                </a:cubicBezTo>
                <a:cubicBezTo>
                  <a:pt x="27" y="239"/>
                  <a:pt x="27" y="239"/>
                  <a:pt x="27" y="239"/>
                </a:cubicBezTo>
                <a:cubicBezTo>
                  <a:pt x="12" y="239"/>
                  <a:pt x="0" y="251"/>
                  <a:pt x="0" y="266"/>
                </a:cubicBezTo>
                <a:cubicBezTo>
                  <a:pt x="0" y="426"/>
                  <a:pt x="0" y="426"/>
                  <a:pt x="0" y="426"/>
                </a:cubicBezTo>
                <a:cubicBezTo>
                  <a:pt x="0" y="441"/>
                  <a:pt x="12" y="453"/>
                  <a:pt x="27" y="453"/>
                </a:cubicBezTo>
                <a:cubicBezTo>
                  <a:pt x="40" y="453"/>
                  <a:pt x="40" y="453"/>
                  <a:pt x="40" y="453"/>
                </a:cubicBezTo>
                <a:cubicBezTo>
                  <a:pt x="40" y="479"/>
                  <a:pt x="40" y="479"/>
                  <a:pt x="40" y="479"/>
                </a:cubicBezTo>
                <a:cubicBezTo>
                  <a:pt x="27" y="479"/>
                  <a:pt x="27" y="479"/>
                  <a:pt x="27" y="479"/>
                </a:cubicBezTo>
                <a:cubicBezTo>
                  <a:pt x="12" y="479"/>
                  <a:pt x="0" y="491"/>
                  <a:pt x="0" y="506"/>
                </a:cubicBezTo>
                <a:cubicBezTo>
                  <a:pt x="0" y="666"/>
                  <a:pt x="0" y="666"/>
                  <a:pt x="0" y="666"/>
                </a:cubicBezTo>
                <a:cubicBezTo>
                  <a:pt x="0" y="681"/>
                  <a:pt x="12" y="693"/>
                  <a:pt x="27" y="693"/>
                </a:cubicBezTo>
                <a:cubicBezTo>
                  <a:pt x="667" y="693"/>
                  <a:pt x="667" y="693"/>
                  <a:pt x="667" y="693"/>
                </a:cubicBezTo>
                <a:cubicBezTo>
                  <a:pt x="681" y="693"/>
                  <a:pt x="693" y="681"/>
                  <a:pt x="693" y="666"/>
                </a:cubicBezTo>
                <a:cubicBezTo>
                  <a:pt x="693" y="506"/>
                  <a:pt x="693" y="506"/>
                  <a:pt x="693" y="506"/>
                </a:cubicBezTo>
                <a:cubicBezTo>
                  <a:pt x="693" y="491"/>
                  <a:pt x="681" y="479"/>
                  <a:pt x="667" y="479"/>
                </a:cubicBezTo>
                <a:cubicBezTo>
                  <a:pt x="653" y="479"/>
                  <a:pt x="653" y="479"/>
                  <a:pt x="653" y="479"/>
                </a:cubicBezTo>
                <a:cubicBezTo>
                  <a:pt x="653" y="453"/>
                  <a:pt x="653" y="453"/>
                  <a:pt x="653" y="453"/>
                </a:cubicBezTo>
                <a:cubicBezTo>
                  <a:pt x="667" y="453"/>
                  <a:pt x="667" y="453"/>
                  <a:pt x="667" y="453"/>
                </a:cubicBezTo>
                <a:cubicBezTo>
                  <a:pt x="681" y="453"/>
                  <a:pt x="693" y="441"/>
                  <a:pt x="693" y="426"/>
                </a:cubicBezTo>
                <a:cubicBezTo>
                  <a:pt x="693" y="266"/>
                  <a:pt x="693" y="266"/>
                  <a:pt x="693" y="266"/>
                </a:cubicBezTo>
                <a:cubicBezTo>
                  <a:pt x="693" y="251"/>
                  <a:pt x="681" y="239"/>
                  <a:pt x="667" y="239"/>
                </a:cubicBezTo>
                <a:cubicBezTo>
                  <a:pt x="653" y="239"/>
                  <a:pt x="653" y="239"/>
                  <a:pt x="653" y="239"/>
                </a:cubicBezTo>
                <a:cubicBezTo>
                  <a:pt x="653" y="213"/>
                  <a:pt x="653" y="213"/>
                  <a:pt x="653" y="213"/>
                </a:cubicBezTo>
                <a:lnTo>
                  <a:pt x="667" y="213"/>
                </a:lnTo>
                <a:close/>
                <a:moveTo>
                  <a:pt x="653" y="653"/>
                </a:moveTo>
                <a:cubicBezTo>
                  <a:pt x="40" y="653"/>
                  <a:pt x="40" y="653"/>
                  <a:pt x="40" y="653"/>
                </a:cubicBezTo>
                <a:cubicBezTo>
                  <a:pt x="40" y="519"/>
                  <a:pt x="40" y="519"/>
                  <a:pt x="40" y="519"/>
                </a:cubicBezTo>
                <a:cubicBezTo>
                  <a:pt x="653" y="519"/>
                  <a:pt x="653" y="519"/>
                  <a:pt x="653" y="519"/>
                </a:cubicBezTo>
                <a:lnTo>
                  <a:pt x="653" y="653"/>
                </a:lnTo>
                <a:close/>
                <a:moveTo>
                  <a:pt x="653" y="413"/>
                </a:moveTo>
                <a:cubicBezTo>
                  <a:pt x="40" y="413"/>
                  <a:pt x="40" y="413"/>
                  <a:pt x="40" y="413"/>
                </a:cubicBezTo>
                <a:cubicBezTo>
                  <a:pt x="40" y="279"/>
                  <a:pt x="40" y="279"/>
                  <a:pt x="40" y="279"/>
                </a:cubicBezTo>
                <a:cubicBezTo>
                  <a:pt x="653" y="279"/>
                  <a:pt x="653" y="279"/>
                  <a:pt x="653" y="279"/>
                </a:cubicBezTo>
                <a:lnTo>
                  <a:pt x="653" y="413"/>
                </a:lnTo>
                <a:close/>
                <a:moveTo>
                  <a:pt x="40" y="173"/>
                </a:moveTo>
                <a:cubicBezTo>
                  <a:pt x="40" y="40"/>
                  <a:pt x="40" y="40"/>
                  <a:pt x="40" y="40"/>
                </a:cubicBezTo>
                <a:cubicBezTo>
                  <a:pt x="653" y="40"/>
                  <a:pt x="653" y="40"/>
                  <a:pt x="653" y="40"/>
                </a:cubicBezTo>
                <a:cubicBezTo>
                  <a:pt x="653" y="173"/>
                  <a:pt x="653" y="173"/>
                  <a:pt x="653" y="173"/>
                </a:cubicBezTo>
                <a:lnTo>
                  <a:pt x="40" y="173"/>
                </a:lnTo>
                <a:close/>
                <a:moveTo>
                  <a:pt x="180" y="53"/>
                </a:moveTo>
                <a:cubicBezTo>
                  <a:pt x="169" y="53"/>
                  <a:pt x="160" y="62"/>
                  <a:pt x="160" y="73"/>
                </a:cubicBezTo>
                <a:cubicBezTo>
                  <a:pt x="160" y="84"/>
                  <a:pt x="169" y="93"/>
                  <a:pt x="180" y="93"/>
                </a:cubicBezTo>
                <a:cubicBezTo>
                  <a:pt x="191" y="93"/>
                  <a:pt x="200" y="84"/>
                  <a:pt x="200" y="73"/>
                </a:cubicBezTo>
                <a:cubicBezTo>
                  <a:pt x="200" y="62"/>
                  <a:pt x="191" y="53"/>
                  <a:pt x="180" y="53"/>
                </a:cubicBezTo>
                <a:close/>
                <a:moveTo>
                  <a:pt x="180" y="119"/>
                </a:moveTo>
                <a:cubicBezTo>
                  <a:pt x="169" y="119"/>
                  <a:pt x="160" y="128"/>
                  <a:pt x="160" y="139"/>
                </a:cubicBezTo>
                <a:cubicBezTo>
                  <a:pt x="160" y="150"/>
                  <a:pt x="169" y="159"/>
                  <a:pt x="180" y="159"/>
                </a:cubicBezTo>
                <a:cubicBezTo>
                  <a:pt x="191" y="159"/>
                  <a:pt x="200" y="150"/>
                  <a:pt x="200" y="139"/>
                </a:cubicBezTo>
                <a:cubicBezTo>
                  <a:pt x="200" y="128"/>
                  <a:pt x="191" y="119"/>
                  <a:pt x="180" y="119"/>
                </a:cubicBezTo>
                <a:close/>
                <a:moveTo>
                  <a:pt x="100" y="53"/>
                </a:moveTo>
                <a:cubicBezTo>
                  <a:pt x="89" y="53"/>
                  <a:pt x="80" y="62"/>
                  <a:pt x="80" y="73"/>
                </a:cubicBezTo>
                <a:cubicBezTo>
                  <a:pt x="80" y="84"/>
                  <a:pt x="89" y="93"/>
                  <a:pt x="100" y="93"/>
                </a:cubicBezTo>
                <a:cubicBezTo>
                  <a:pt x="111" y="93"/>
                  <a:pt x="120" y="84"/>
                  <a:pt x="120" y="73"/>
                </a:cubicBezTo>
                <a:cubicBezTo>
                  <a:pt x="120" y="62"/>
                  <a:pt x="111" y="53"/>
                  <a:pt x="100" y="53"/>
                </a:cubicBezTo>
                <a:close/>
                <a:moveTo>
                  <a:pt x="100" y="119"/>
                </a:moveTo>
                <a:cubicBezTo>
                  <a:pt x="89" y="119"/>
                  <a:pt x="80" y="128"/>
                  <a:pt x="80" y="139"/>
                </a:cubicBezTo>
                <a:cubicBezTo>
                  <a:pt x="80" y="150"/>
                  <a:pt x="89" y="159"/>
                  <a:pt x="100" y="159"/>
                </a:cubicBezTo>
                <a:cubicBezTo>
                  <a:pt x="111" y="159"/>
                  <a:pt x="120" y="150"/>
                  <a:pt x="120" y="139"/>
                </a:cubicBezTo>
                <a:cubicBezTo>
                  <a:pt x="120" y="128"/>
                  <a:pt x="111" y="119"/>
                  <a:pt x="100" y="119"/>
                </a:cubicBezTo>
                <a:close/>
                <a:moveTo>
                  <a:pt x="260" y="119"/>
                </a:moveTo>
                <a:cubicBezTo>
                  <a:pt x="249" y="119"/>
                  <a:pt x="240" y="128"/>
                  <a:pt x="240" y="139"/>
                </a:cubicBezTo>
                <a:cubicBezTo>
                  <a:pt x="240" y="150"/>
                  <a:pt x="249" y="159"/>
                  <a:pt x="260" y="159"/>
                </a:cubicBezTo>
                <a:cubicBezTo>
                  <a:pt x="271" y="159"/>
                  <a:pt x="280" y="150"/>
                  <a:pt x="280" y="139"/>
                </a:cubicBezTo>
                <a:cubicBezTo>
                  <a:pt x="280" y="128"/>
                  <a:pt x="271" y="119"/>
                  <a:pt x="260" y="119"/>
                </a:cubicBezTo>
                <a:close/>
                <a:moveTo>
                  <a:pt x="340" y="53"/>
                </a:moveTo>
                <a:cubicBezTo>
                  <a:pt x="329" y="53"/>
                  <a:pt x="320" y="62"/>
                  <a:pt x="320" y="73"/>
                </a:cubicBezTo>
                <a:cubicBezTo>
                  <a:pt x="320" y="84"/>
                  <a:pt x="329" y="93"/>
                  <a:pt x="340" y="93"/>
                </a:cubicBezTo>
                <a:cubicBezTo>
                  <a:pt x="351" y="93"/>
                  <a:pt x="360" y="84"/>
                  <a:pt x="360" y="73"/>
                </a:cubicBezTo>
                <a:cubicBezTo>
                  <a:pt x="360" y="62"/>
                  <a:pt x="351" y="53"/>
                  <a:pt x="340" y="53"/>
                </a:cubicBezTo>
                <a:close/>
                <a:moveTo>
                  <a:pt x="340" y="119"/>
                </a:moveTo>
                <a:cubicBezTo>
                  <a:pt x="329" y="119"/>
                  <a:pt x="320" y="128"/>
                  <a:pt x="320" y="139"/>
                </a:cubicBezTo>
                <a:cubicBezTo>
                  <a:pt x="320" y="150"/>
                  <a:pt x="329" y="159"/>
                  <a:pt x="340" y="159"/>
                </a:cubicBezTo>
                <a:cubicBezTo>
                  <a:pt x="351" y="159"/>
                  <a:pt x="360" y="150"/>
                  <a:pt x="360" y="139"/>
                </a:cubicBezTo>
                <a:cubicBezTo>
                  <a:pt x="360" y="128"/>
                  <a:pt x="351" y="119"/>
                  <a:pt x="340" y="119"/>
                </a:cubicBezTo>
                <a:close/>
                <a:moveTo>
                  <a:pt x="260" y="53"/>
                </a:moveTo>
                <a:cubicBezTo>
                  <a:pt x="249" y="53"/>
                  <a:pt x="240" y="62"/>
                  <a:pt x="240" y="73"/>
                </a:cubicBezTo>
                <a:cubicBezTo>
                  <a:pt x="240" y="84"/>
                  <a:pt x="249" y="93"/>
                  <a:pt x="260" y="93"/>
                </a:cubicBezTo>
                <a:cubicBezTo>
                  <a:pt x="271" y="93"/>
                  <a:pt x="280" y="84"/>
                  <a:pt x="280" y="73"/>
                </a:cubicBezTo>
                <a:cubicBezTo>
                  <a:pt x="280" y="62"/>
                  <a:pt x="271" y="53"/>
                  <a:pt x="260" y="53"/>
                </a:cubicBezTo>
                <a:close/>
                <a:moveTo>
                  <a:pt x="260" y="399"/>
                </a:moveTo>
                <a:cubicBezTo>
                  <a:pt x="271" y="399"/>
                  <a:pt x="280" y="390"/>
                  <a:pt x="280" y="379"/>
                </a:cubicBezTo>
                <a:cubicBezTo>
                  <a:pt x="280" y="368"/>
                  <a:pt x="271" y="359"/>
                  <a:pt x="260" y="359"/>
                </a:cubicBezTo>
                <a:cubicBezTo>
                  <a:pt x="249" y="359"/>
                  <a:pt x="240" y="368"/>
                  <a:pt x="240" y="379"/>
                </a:cubicBezTo>
                <a:cubicBezTo>
                  <a:pt x="240" y="390"/>
                  <a:pt x="249" y="399"/>
                  <a:pt x="260" y="399"/>
                </a:cubicBezTo>
                <a:close/>
                <a:moveTo>
                  <a:pt x="340" y="399"/>
                </a:moveTo>
                <a:cubicBezTo>
                  <a:pt x="351" y="399"/>
                  <a:pt x="360" y="390"/>
                  <a:pt x="360" y="379"/>
                </a:cubicBezTo>
                <a:cubicBezTo>
                  <a:pt x="360" y="368"/>
                  <a:pt x="351" y="359"/>
                  <a:pt x="340" y="359"/>
                </a:cubicBezTo>
                <a:cubicBezTo>
                  <a:pt x="329" y="359"/>
                  <a:pt x="320" y="368"/>
                  <a:pt x="320" y="379"/>
                </a:cubicBezTo>
                <a:cubicBezTo>
                  <a:pt x="320" y="390"/>
                  <a:pt x="329" y="399"/>
                  <a:pt x="340" y="399"/>
                </a:cubicBezTo>
                <a:close/>
                <a:moveTo>
                  <a:pt x="260" y="333"/>
                </a:moveTo>
                <a:cubicBezTo>
                  <a:pt x="271" y="333"/>
                  <a:pt x="280" y="324"/>
                  <a:pt x="280" y="313"/>
                </a:cubicBezTo>
                <a:cubicBezTo>
                  <a:pt x="280" y="302"/>
                  <a:pt x="271" y="293"/>
                  <a:pt x="260" y="293"/>
                </a:cubicBezTo>
                <a:cubicBezTo>
                  <a:pt x="249" y="293"/>
                  <a:pt x="240" y="302"/>
                  <a:pt x="240" y="313"/>
                </a:cubicBezTo>
                <a:cubicBezTo>
                  <a:pt x="240" y="324"/>
                  <a:pt x="249" y="333"/>
                  <a:pt x="260" y="333"/>
                </a:cubicBezTo>
                <a:close/>
                <a:moveTo>
                  <a:pt x="340" y="333"/>
                </a:moveTo>
                <a:cubicBezTo>
                  <a:pt x="351" y="333"/>
                  <a:pt x="360" y="324"/>
                  <a:pt x="360" y="313"/>
                </a:cubicBezTo>
                <a:cubicBezTo>
                  <a:pt x="360" y="302"/>
                  <a:pt x="351" y="293"/>
                  <a:pt x="340" y="293"/>
                </a:cubicBezTo>
                <a:cubicBezTo>
                  <a:pt x="329" y="293"/>
                  <a:pt x="320" y="302"/>
                  <a:pt x="320" y="313"/>
                </a:cubicBezTo>
                <a:cubicBezTo>
                  <a:pt x="320" y="324"/>
                  <a:pt x="329" y="333"/>
                  <a:pt x="340" y="333"/>
                </a:cubicBezTo>
                <a:close/>
                <a:moveTo>
                  <a:pt x="100" y="399"/>
                </a:moveTo>
                <a:cubicBezTo>
                  <a:pt x="111" y="399"/>
                  <a:pt x="120" y="390"/>
                  <a:pt x="120" y="379"/>
                </a:cubicBezTo>
                <a:cubicBezTo>
                  <a:pt x="120" y="368"/>
                  <a:pt x="111" y="359"/>
                  <a:pt x="100" y="359"/>
                </a:cubicBezTo>
                <a:cubicBezTo>
                  <a:pt x="89" y="359"/>
                  <a:pt x="80" y="368"/>
                  <a:pt x="80" y="379"/>
                </a:cubicBezTo>
                <a:cubicBezTo>
                  <a:pt x="80" y="390"/>
                  <a:pt x="89" y="399"/>
                  <a:pt x="100" y="399"/>
                </a:cubicBezTo>
                <a:close/>
                <a:moveTo>
                  <a:pt x="180" y="333"/>
                </a:moveTo>
                <a:cubicBezTo>
                  <a:pt x="191" y="333"/>
                  <a:pt x="200" y="324"/>
                  <a:pt x="200" y="313"/>
                </a:cubicBezTo>
                <a:cubicBezTo>
                  <a:pt x="200" y="302"/>
                  <a:pt x="191" y="293"/>
                  <a:pt x="180" y="293"/>
                </a:cubicBezTo>
                <a:cubicBezTo>
                  <a:pt x="169" y="293"/>
                  <a:pt x="160" y="302"/>
                  <a:pt x="160" y="313"/>
                </a:cubicBezTo>
                <a:cubicBezTo>
                  <a:pt x="160" y="324"/>
                  <a:pt x="169" y="333"/>
                  <a:pt x="180" y="333"/>
                </a:cubicBezTo>
                <a:close/>
                <a:moveTo>
                  <a:pt x="100" y="333"/>
                </a:moveTo>
                <a:cubicBezTo>
                  <a:pt x="111" y="333"/>
                  <a:pt x="120" y="324"/>
                  <a:pt x="120" y="313"/>
                </a:cubicBezTo>
                <a:cubicBezTo>
                  <a:pt x="120" y="302"/>
                  <a:pt x="111" y="293"/>
                  <a:pt x="100" y="293"/>
                </a:cubicBezTo>
                <a:cubicBezTo>
                  <a:pt x="89" y="293"/>
                  <a:pt x="80" y="302"/>
                  <a:pt x="80" y="313"/>
                </a:cubicBezTo>
                <a:cubicBezTo>
                  <a:pt x="80" y="324"/>
                  <a:pt x="89" y="333"/>
                  <a:pt x="100" y="333"/>
                </a:cubicBezTo>
                <a:close/>
                <a:moveTo>
                  <a:pt x="180" y="399"/>
                </a:moveTo>
                <a:cubicBezTo>
                  <a:pt x="191" y="399"/>
                  <a:pt x="200" y="390"/>
                  <a:pt x="200" y="379"/>
                </a:cubicBezTo>
                <a:cubicBezTo>
                  <a:pt x="200" y="368"/>
                  <a:pt x="191" y="359"/>
                  <a:pt x="180" y="359"/>
                </a:cubicBezTo>
                <a:cubicBezTo>
                  <a:pt x="169" y="359"/>
                  <a:pt x="160" y="368"/>
                  <a:pt x="160" y="379"/>
                </a:cubicBezTo>
                <a:cubicBezTo>
                  <a:pt x="160" y="390"/>
                  <a:pt x="169" y="399"/>
                  <a:pt x="180" y="399"/>
                </a:cubicBezTo>
                <a:close/>
                <a:moveTo>
                  <a:pt x="260" y="639"/>
                </a:moveTo>
                <a:cubicBezTo>
                  <a:pt x="271" y="639"/>
                  <a:pt x="280" y="630"/>
                  <a:pt x="280" y="619"/>
                </a:cubicBezTo>
                <a:cubicBezTo>
                  <a:pt x="280" y="608"/>
                  <a:pt x="271" y="599"/>
                  <a:pt x="260" y="599"/>
                </a:cubicBezTo>
                <a:cubicBezTo>
                  <a:pt x="249" y="599"/>
                  <a:pt x="240" y="608"/>
                  <a:pt x="240" y="619"/>
                </a:cubicBezTo>
                <a:cubicBezTo>
                  <a:pt x="240" y="630"/>
                  <a:pt x="249" y="639"/>
                  <a:pt x="260" y="639"/>
                </a:cubicBezTo>
                <a:close/>
                <a:moveTo>
                  <a:pt x="260" y="573"/>
                </a:moveTo>
                <a:cubicBezTo>
                  <a:pt x="271" y="573"/>
                  <a:pt x="280" y="564"/>
                  <a:pt x="280" y="553"/>
                </a:cubicBezTo>
                <a:cubicBezTo>
                  <a:pt x="280" y="542"/>
                  <a:pt x="271" y="533"/>
                  <a:pt x="260" y="533"/>
                </a:cubicBezTo>
                <a:cubicBezTo>
                  <a:pt x="249" y="533"/>
                  <a:pt x="240" y="542"/>
                  <a:pt x="240" y="553"/>
                </a:cubicBezTo>
                <a:cubicBezTo>
                  <a:pt x="240" y="564"/>
                  <a:pt x="249" y="573"/>
                  <a:pt x="260" y="573"/>
                </a:cubicBezTo>
                <a:close/>
                <a:moveTo>
                  <a:pt x="180" y="573"/>
                </a:moveTo>
                <a:cubicBezTo>
                  <a:pt x="191" y="573"/>
                  <a:pt x="200" y="564"/>
                  <a:pt x="200" y="553"/>
                </a:cubicBezTo>
                <a:cubicBezTo>
                  <a:pt x="200" y="542"/>
                  <a:pt x="191" y="533"/>
                  <a:pt x="180" y="533"/>
                </a:cubicBezTo>
                <a:cubicBezTo>
                  <a:pt x="169" y="533"/>
                  <a:pt x="160" y="542"/>
                  <a:pt x="160" y="553"/>
                </a:cubicBezTo>
                <a:cubicBezTo>
                  <a:pt x="160" y="564"/>
                  <a:pt x="169" y="573"/>
                  <a:pt x="180" y="573"/>
                </a:cubicBezTo>
                <a:close/>
                <a:moveTo>
                  <a:pt x="340" y="639"/>
                </a:moveTo>
                <a:cubicBezTo>
                  <a:pt x="351" y="639"/>
                  <a:pt x="360" y="630"/>
                  <a:pt x="360" y="619"/>
                </a:cubicBezTo>
                <a:cubicBezTo>
                  <a:pt x="360" y="608"/>
                  <a:pt x="351" y="599"/>
                  <a:pt x="340" y="599"/>
                </a:cubicBezTo>
                <a:cubicBezTo>
                  <a:pt x="329" y="599"/>
                  <a:pt x="320" y="608"/>
                  <a:pt x="320" y="619"/>
                </a:cubicBezTo>
                <a:cubicBezTo>
                  <a:pt x="320" y="630"/>
                  <a:pt x="329" y="639"/>
                  <a:pt x="340" y="639"/>
                </a:cubicBezTo>
                <a:close/>
                <a:moveTo>
                  <a:pt x="340" y="573"/>
                </a:moveTo>
                <a:cubicBezTo>
                  <a:pt x="351" y="573"/>
                  <a:pt x="360" y="564"/>
                  <a:pt x="360" y="553"/>
                </a:cubicBezTo>
                <a:cubicBezTo>
                  <a:pt x="360" y="542"/>
                  <a:pt x="351" y="533"/>
                  <a:pt x="340" y="533"/>
                </a:cubicBezTo>
                <a:cubicBezTo>
                  <a:pt x="329" y="533"/>
                  <a:pt x="320" y="542"/>
                  <a:pt x="320" y="553"/>
                </a:cubicBezTo>
                <a:cubicBezTo>
                  <a:pt x="320" y="564"/>
                  <a:pt x="329" y="573"/>
                  <a:pt x="340" y="573"/>
                </a:cubicBezTo>
                <a:close/>
                <a:moveTo>
                  <a:pt x="100" y="639"/>
                </a:moveTo>
                <a:cubicBezTo>
                  <a:pt x="111" y="639"/>
                  <a:pt x="120" y="630"/>
                  <a:pt x="120" y="619"/>
                </a:cubicBezTo>
                <a:cubicBezTo>
                  <a:pt x="120" y="608"/>
                  <a:pt x="111" y="599"/>
                  <a:pt x="100" y="599"/>
                </a:cubicBezTo>
                <a:cubicBezTo>
                  <a:pt x="89" y="599"/>
                  <a:pt x="80" y="608"/>
                  <a:pt x="80" y="619"/>
                </a:cubicBezTo>
                <a:cubicBezTo>
                  <a:pt x="80" y="630"/>
                  <a:pt x="89" y="639"/>
                  <a:pt x="100" y="639"/>
                </a:cubicBezTo>
                <a:close/>
                <a:moveTo>
                  <a:pt x="180" y="639"/>
                </a:moveTo>
                <a:cubicBezTo>
                  <a:pt x="191" y="639"/>
                  <a:pt x="200" y="630"/>
                  <a:pt x="200" y="619"/>
                </a:cubicBezTo>
                <a:cubicBezTo>
                  <a:pt x="200" y="608"/>
                  <a:pt x="191" y="599"/>
                  <a:pt x="180" y="599"/>
                </a:cubicBezTo>
                <a:cubicBezTo>
                  <a:pt x="169" y="599"/>
                  <a:pt x="160" y="608"/>
                  <a:pt x="160" y="619"/>
                </a:cubicBezTo>
                <a:cubicBezTo>
                  <a:pt x="160" y="630"/>
                  <a:pt x="169" y="639"/>
                  <a:pt x="180" y="639"/>
                </a:cubicBezTo>
                <a:close/>
                <a:moveTo>
                  <a:pt x="100" y="573"/>
                </a:moveTo>
                <a:cubicBezTo>
                  <a:pt x="111" y="573"/>
                  <a:pt x="120" y="564"/>
                  <a:pt x="120" y="553"/>
                </a:cubicBezTo>
                <a:cubicBezTo>
                  <a:pt x="120" y="542"/>
                  <a:pt x="111" y="533"/>
                  <a:pt x="100" y="533"/>
                </a:cubicBezTo>
                <a:cubicBezTo>
                  <a:pt x="89" y="533"/>
                  <a:pt x="80" y="542"/>
                  <a:pt x="80" y="553"/>
                </a:cubicBezTo>
                <a:cubicBezTo>
                  <a:pt x="80" y="564"/>
                  <a:pt x="89" y="573"/>
                  <a:pt x="100" y="573"/>
                </a:cubicBezTo>
                <a:close/>
                <a:moveTo>
                  <a:pt x="587" y="386"/>
                </a:moveTo>
                <a:cubicBezTo>
                  <a:pt x="609" y="386"/>
                  <a:pt x="627" y="368"/>
                  <a:pt x="627" y="346"/>
                </a:cubicBezTo>
                <a:cubicBezTo>
                  <a:pt x="627" y="324"/>
                  <a:pt x="609" y="306"/>
                  <a:pt x="587" y="306"/>
                </a:cubicBezTo>
                <a:cubicBezTo>
                  <a:pt x="565" y="306"/>
                  <a:pt x="547" y="324"/>
                  <a:pt x="547" y="346"/>
                </a:cubicBezTo>
                <a:cubicBezTo>
                  <a:pt x="547" y="368"/>
                  <a:pt x="565" y="386"/>
                  <a:pt x="587" y="386"/>
                </a:cubicBezTo>
                <a:close/>
                <a:moveTo>
                  <a:pt x="587" y="626"/>
                </a:moveTo>
                <a:cubicBezTo>
                  <a:pt x="609" y="626"/>
                  <a:pt x="627" y="608"/>
                  <a:pt x="627" y="586"/>
                </a:cubicBezTo>
                <a:cubicBezTo>
                  <a:pt x="627" y="564"/>
                  <a:pt x="609" y="546"/>
                  <a:pt x="587" y="546"/>
                </a:cubicBezTo>
                <a:cubicBezTo>
                  <a:pt x="565" y="546"/>
                  <a:pt x="547" y="564"/>
                  <a:pt x="547" y="586"/>
                </a:cubicBezTo>
                <a:cubicBezTo>
                  <a:pt x="547" y="608"/>
                  <a:pt x="565" y="626"/>
                  <a:pt x="587" y="626"/>
                </a:cubicBezTo>
                <a:close/>
                <a:moveTo>
                  <a:pt x="587" y="66"/>
                </a:moveTo>
                <a:cubicBezTo>
                  <a:pt x="565" y="66"/>
                  <a:pt x="547" y="84"/>
                  <a:pt x="547" y="106"/>
                </a:cubicBezTo>
                <a:cubicBezTo>
                  <a:pt x="547" y="128"/>
                  <a:pt x="565" y="146"/>
                  <a:pt x="587" y="146"/>
                </a:cubicBezTo>
                <a:cubicBezTo>
                  <a:pt x="609" y="146"/>
                  <a:pt x="627" y="128"/>
                  <a:pt x="627" y="106"/>
                </a:cubicBezTo>
                <a:cubicBezTo>
                  <a:pt x="627" y="84"/>
                  <a:pt x="609" y="66"/>
                  <a:pt x="587" y="6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Server</a:t>
            </a:r>
          </a:p>
        </p:txBody>
      </p:sp>
      <p:sp>
        <p:nvSpPr>
          <p:cNvPr id="9" name="Freeform 200">
            <a:extLst>
              <a:ext uri="{FF2B5EF4-FFF2-40B4-BE49-F238E27FC236}">
                <a16:creationId xmlns:a16="http://schemas.microsoft.com/office/drawing/2014/main" id="{CBC65E3F-7A9C-42D8-AA1F-A4C3BD0D0CA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0863" y="3206740"/>
            <a:ext cx="1343235" cy="1636372"/>
          </a:xfrm>
          <a:custGeom>
            <a:avLst/>
            <a:gdLst>
              <a:gd name="T0" fmla="*/ 133 w 613"/>
              <a:gd name="T1" fmla="*/ 440 h 746"/>
              <a:gd name="T2" fmla="*/ 480 w 613"/>
              <a:gd name="T3" fmla="*/ 440 h 746"/>
              <a:gd name="T4" fmla="*/ 480 w 613"/>
              <a:gd name="T5" fmla="*/ 413 h 746"/>
              <a:gd name="T6" fmla="*/ 133 w 613"/>
              <a:gd name="T7" fmla="*/ 413 h 746"/>
              <a:gd name="T8" fmla="*/ 133 w 613"/>
              <a:gd name="T9" fmla="*/ 440 h 746"/>
              <a:gd name="T10" fmla="*/ 133 w 613"/>
              <a:gd name="T11" fmla="*/ 573 h 746"/>
              <a:gd name="T12" fmla="*/ 480 w 613"/>
              <a:gd name="T13" fmla="*/ 573 h 746"/>
              <a:gd name="T14" fmla="*/ 480 w 613"/>
              <a:gd name="T15" fmla="*/ 546 h 746"/>
              <a:gd name="T16" fmla="*/ 133 w 613"/>
              <a:gd name="T17" fmla="*/ 546 h 746"/>
              <a:gd name="T18" fmla="*/ 133 w 613"/>
              <a:gd name="T19" fmla="*/ 573 h 746"/>
              <a:gd name="T20" fmla="*/ 133 w 613"/>
              <a:gd name="T21" fmla="*/ 306 h 746"/>
              <a:gd name="T22" fmla="*/ 480 w 613"/>
              <a:gd name="T23" fmla="*/ 306 h 746"/>
              <a:gd name="T24" fmla="*/ 480 w 613"/>
              <a:gd name="T25" fmla="*/ 280 h 746"/>
              <a:gd name="T26" fmla="*/ 133 w 613"/>
              <a:gd name="T27" fmla="*/ 280 h 746"/>
              <a:gd name="T28" fmla="*/ 133 w 613"/>
              <a:gd name="T29" fmla="*/ 306 h 746"/>
              <a:gd name="T30" fmla="*/ 613 w 613"/>
              <a:gd name="T31" fmla="*/ 200 h 746"/>
              <a:gd name="T32" fmla="*/ 413 w 613"/>
              <a:gd name="T33" fmla="*/ 0 h 746"/>
              <a:gd name="T34" fmla="*/ 413 w 613"/>
              <a:gd name="T35" fmla="*/ 0 h 746"/>
              <a:gd name="T36" fmla="*/ 387 w 613"/>
              <a:gd name="T37" fmla="*/ 0 h 746"/>
              <a:gd name="T38" fmla="*/ 387 w 613"/>
              <a:gd name="T39" fmla="*/ 0 h 746"/>
              <a:gd name="T40" fmla="*/ 27 w 613"/>
              <a:gd name="T41" fmla="*/ 0 h 746"/>
              <a:gd name="T42" fmla="*/ 0 w 613"/>
              <a:gd name="T43" fmla="*/ 26 h 746"/>
              <a:gd name="T44" fmla="*/ 0 w 613"/>
              <a:gd name="T45" fmla="*/ 720 h 746"/>
              <a:gd name="T46" fmla="*/ 27 w 613"/>
              <a:gd name="T47" fmla="*/ 746 h 746"/>
              <a:gd name="T48" fmla="*/ 587 w 613"/>
              <a:gd name="T49" fmla="*/ 746 h 746"/>
              <a:gd name="T50" fmla="*/ 613 w 613"/>
              <a:gd name="T51" fmla="*/ 720 h 746"/>
              <a:gd name="T52" fmla="*/ 613 w 613"/>
              <a:gd name="T53" fmla="*/ 226 h 746"/>
              <a:gd name="T54" fmla="*/ 613 w 613"/>
              <a:gd name="T55" fmla="*/ 226 h 746"/>
              <a:gd name="T56" fmla="*/ 613 w 613"/>
              <a:gd name="T57" fmla="*/ 200 h 746"/>
              <a:gd name="T58" fmla="*/ 413 w 613"/>
              <a:gd name="T59" fmla="*/ 56 h 746"/>
              <a:gd name="T60" fmla="*/ 557 w 613"/>
              <a:gd name="T61" fmla="*/ 200 h 746"/>
              <a:gd name="T62" fmla="*/ 427 w 613"/>
              <a:gd name="T63" fmla="*/ 200 h 746"/>
              <a:gd name="T64" fmla="*/ 413 w 613"/>
              <a:gd name="T65" fmla="*/ 186 h 746"/>
              <a:gd name="T66" fmla="*/ 413 w 613"/>
              <a:gd name="T67" fmla="*/ 56 h 746"/>
              <a:gd name="T68" fmla="*/ 573 w 613"/>
              <a:gd name="T69" fmla="*/ 706 h 746"/>
              <a:gd name="T70" fmla="*/ 40 w 613"/>
              <a:gd name="T71" fmla="*/ 706 h 746"/>
              <a:gd name="T72" fmla="*/ 40 w 613"/>
              <a:gd name="T73" fmla="*/ 40 h 746"/>
              <a:gd name="T74" fmla="*/ 387 w 613"/>
              <a:gd name="T75" fmla="*/ 40 h 746"/>
              <a:gd name="T76" fmla="*/ 387 w 613"/>
              <a:gd name="T77" fmla="*/ 186 h 746"/>
              <a:gd name="T78" fmla="*/ 427 w 613"/>
              <a:gd name="T79" fmla="*/ 226 h 746"/>
              <a:gd name="T80" fmla="*/ 573 w 613"/>
              <a:gd name="T81" fmla="*/ 226 h 746"/>
              <a:gd name="T82" fmla="*/ 573 w 613"/>
              <a:gd name="T83" fmla="*/ 706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13" h="746">
                <a:moveTo>
                  <a:pt x="133" y="440"/>
                </a:moveTo>
                <a:cubicBezTo>
                  <a:pt x="480" y="440"/>
                  <a:pt x="480" y="440"/>
                  <a:pt x="480" y="440"/>
                </a:cubicBezTo>
                <a:cubicBezTo>
                  <a:pt x="480" y="413"/>
                  <a:pt x="480" y="413"/>
                  <a:pt x="480" y="413"/>
                </a:cubicBezTo>
                <a:cubicBezTo>
                  <a:pt x="133" y="413"/>
                  <a:pt x="133" y="413"/>
                  <a:pt x="133" y="413"/>
                </a:cubicBezTo>
                <a:lnTo>
                  <a:pt x="133" y="440"/>
                </a:lnTo>
                <a:close/>
                <a:moveTo>
                  <a:pt x="133" y="573"/>
                </a:moveTo>
                <a:cubicBezTo>
                  <a:pt x="480" y="573"/>
                  <a:pt x="480" y="573"/>
                  <a:pt x="480" y="573"/>
                </a:cubicBezTo>
                <a:cubicBezTo>
                  <a:pt x="480" y="546"/>
                  <a:pt x="480" y="546"/>
                  <a:pt x="480" y="546"/>
                </a:cubicBezTo>
                <a:cubicBezTo>
                  <a:pt x="133" y="546"/>
                  <a:pt x="133" y="546"/>
                  <a:pt x="133" y="546"/>
                </a:cubicBezTo>
                <a:lnTo>
                  <a:pt x="133" y="573"/>
                </a:lnTo>
                <a:close/>
                <a:moveTo>
                  <a:pt x="133" y="306"/>
                </a:moveTo>
                <a:cubicBezTo>
                  <a:pt x="480" y="306"/>
                  <a:pt x="480" y="306"/>
                  <a:pt x="480" y="306"/>
                </a:cubicBezTo>
                <a:cubicBezTo>
                  <a:pt x="480" y="280"/>
                  <a:pt x="480" y="280"/>
                  <a:pt x="480" y="280"/>
                </a:cubicBezTo>
                <a:cubicBezTo>
                  <a:pt x="133" y="280"/>
                  <a:pt x="133" y="280"/>
                  <a:pt x="133" y="280"/>
                </a:cubicBezTo>
                <a:lnTo>
                  <a:pt x="133" y="306"/>
                </a:lnTo>
                <a:close/>
                <a:moveTo>
                  <a:pt x="613" y="200"/>
                </a:moveTo>
                <a:cubicBezTo>
                  <a:pt x="413" y="0"/>
                  <a:pt x="413" y="0"/>
                  <a:pt x="413" y="0"/>
                </a:cubicBezTo>
                <a:cubicBezTo>
                  <a:pt x="413" y="0"/>
                  <a:pt x="413" y="0"/>
                  <a:pt x="413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387" y="0"/>
                  <a:pt x="387" y="0"/>
                  <a:pt x="387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12" y="0"/>
                  <a:pt x="0" y="12"/>
                  <a:pt x="0" y="26"/>
                </a:cubicBezTo>
                <a:cubicBezTo>
                  <a:pt x="0" y="720"/>
                  <a:pt x="0" y="720"/>
                  <a:pt x="0" y="720"/>
                </a:cubicBezTo>
                <a:cubicBezTo>
                  <a:pt x="0" y="734"/>
                  <a:pt x="12" y="746"/>
                  <a:pt x="27" y="746"/>
                </a:cubicBezTo>
                <a:cubicBezTo>
                  <a:pt x="587" y="746"/>
                  <a:pt x="587" y="746"/>
                  <a:pt x="587" y="746"/>
                </a:cubicBezTo>
                <a:cubicBezTo>
                  <a:pt x="601" y="746"/>
                  <a:pt x="613" y="734"/>
                  <a:pt x="613" y="720"/>
                </a:cubicBezTo>
                <a:cubicBezTo>
                  <a:pt x="613" y="226"/>
                  <a:pt x="613" y="226"/>
                  <a:pt x="613" y="226"/>
                </a:cubicBezTo>
                <a:cubicBezTo>
                  <a:pt x="613" y="226"/>
                  <a:pt x="613" y="226"/>
                  <a:pt x="613" y="226"/>
                </a:cubicBezTo>
                <a:cubicBezTo>
                  <a:pt x="613" y="200"/>
                  <a:pt x="613" y="200"/>
                  <a:pt x="613" y="200"/>
                </a:cubicBezTo>
                <a:close/>
                <a:moveTo>
                  <a:pt x="413" y="56"/>
                </a:moveTo>
                <a:cubicBezTo>
                  <a:pt x="557" y="200"/>
                  <a:pt x="557" y="200"/>
                  <a:pt x="557" y="200"/>
                </a:cubicBezTo>
                <a:cubicBezTo>
                  <a:pt x="427" y="200"/>
                  <a:pt x="427" y="200"/>
                  <a:pt x="427" y="200"/>
                </a:cubicBezTo>
                <a:cubicBezTo>
                  <a:pt x="419" y="200"/>
                  <a:pt x="413" y="194"/>
                  <a:pt x="413" y="186"/>
                </a:cubicBezTo>
                <a:lnTo>
                  <a:pt x="413" y="56"/>
                </a:lnTo>
                <a:close/>
                <a:moveTo>
                  <a:pt x="573" y="706"/>
                </a:moveTo>
                <a:cubicBezTo>
                  <a:pt x="40" y="706"/>
                  <a:pt x="40" y="706"/>
                  <a:pt x="40" y="706"/>
                </a:cubicBezTo>
                <a:cubicBezTo>
                  <a:pt x="40" y="40"/>
                  <a:pt x="40" y="40"/>
                  <a:pt x="40" y="40"/>
                </a:cubicBezTo>
                <a:cubicBezTo>
                  <a:pt x="387" y="40"/>
                  <a:pt x="387" y="40"/>
                  <a:pt x="387" y="40"/>
                </a:cubicBezTo>
                <a:cubicBezTo>
                  <a:pt x="387" y="186"/>
                  <a:pt x="387" y="186"/>
                  <a:pt x="387" y="186"/>
                </a:cubicBezTo>
                <a:cubicBezTo>
                  <a:pt x="387" y="208"/>
                  <a:pt x="405" y="226"/>
                  <a:pt x="427" y="226"/>
                </a:cubicBezTo>
                <a:cubicBezTo>
                  <a:pt x="573" y="226"/>
                  <a:pt x="573" y="226"/>
                  <a:pt x="573" y="226"/>
                </a:cubicBezTo>
                <a:lnTo>
                  <a:pt x="573" y="70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Coding</a:t>
            </a:r>
          </a:p>
          <a:p>
            <a:pPr algn="ctr"/>
            <a:r>
              <a:rPr lang="en-US" dirty="0"/>
              <a:t>(Python)</a:t>
            </a:r>
          </a:p>
        </p:txBody>
      </p:sp>
      <p:pic>
        <p:nvPicPr>
          <p:cNvPr id="11" name="Picture 44">
            <a:extLst>
              <a:ext uri="{FF2B5EF4-FFF2-40B4-BE49-F238E27FC236}">
                <a16:creationId xmlns:a16="http://schemas.microsoft.com/office/drawing/2014/main" id="{6F5022BF-CB67-4F83-9CDD-8B8820C656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14"/>
                    </a14:imgEffect>
                    <a14:imgEffect>
                      <a14:saturation sat="0"/>
                    </a14:imgEffect>
                    <a14:imgEffect>
                      <a14:brightnessContrast bright="-3000" contrast="8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495" y="866229"/>
            <a:ext cx="1253435" cy="125343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6069E53-A327-41C1-9919-F7A0FF35A5A5}"/>
              </a:ext>
            </a:extLst>
          </p:cNvPr>
          <p:cNvSpPr txBox="1"/>
          <p:nvPr/>
        </p:nvSpPr>
        <p:spPr bwMode="gray">
          <a:xfrm>
            <a:off x="8856488" y="2229893"/>
            <a:ext cx="2401448" cy="2612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dirty="0"/>
              <a:t>AWS Developer Accoun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A29459E-90B8-4595-8B79-67F8C527CF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7558" y="4603532"/>
            <a:ext cx="660149" cy="568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410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4315066"/>
              </p:ext>
            </p:extLst>
          </p:nvPr>
        </p:nvGraphicFramePr>
        <p:xfrm>
          <a:off x="2933700" y="1476375"/>
          <a:ext cx="5654675" cy="2775944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4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4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rerequisites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teraction with Alexa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pplication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mazon Alexa Skill Kit (ASK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Dem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9858D027-AA4E-46F6-B38D-32F3CB7F79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933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DEFC399-DD1F-438B-B50C-142E43E9C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action </a:t>
            </a:r>
            <a:r>
              <a:rPr lang="de-DE" dirty="0" err="1"/>
              <a:t>with</a:t>
            </a:r>
            <a:r>
              <a:rPr lang="de-DE" dirty="0"/>
              <a:t> Alexa</a:t>
            </a:r>
            <a:br>
              <a:rPr lang="de-DE" dirty="0"/>
            </a:b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70BC482-52BC-44D3-90E0-07242346A4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669" y="1157944"/>
            <a:ext cx="1142860" cy="12319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9651B09-E76E-4B63-9538-17E493B3F9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2419" y="1196044"/>
            <a:ext cx="558731" cy="11938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74175EF5-58B9-4596-80B3-5D1EBF8CCE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4776" y="1135434"/>
            <a:ext cx="1180955" cy="12319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07B91F6-2613-429E-8631-B787E66B78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1707" y="2049238"/>
            <a:ext cx="1866671" cy="36342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AA072E0-1FDE-443F-93C1-F4FB6FC725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1708" y="1152962"/>
            <a:ext cx="1866671" cy="378372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E581D6F-EC13-4F9C-A000-BC54668DB6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3225" y="3178559"/>
            <a:ext cx="990478" cy="9906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60DD85E3-BAE6-4FAE-B384-8DDD46AD26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5129" y="4828498"/>
            <a:ext cx="1066669" cy="8382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BBBCD09-11B5-4AB6-AE44-CC3FF30EC7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55833" y="4478515"/>
            <a:ext cx="2298417" cy="1473200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A7B3FF87-9FA8-4E71-8EF5-9CFB3E359791}"/>
              </a:ext>
            </a:extLst>
          </p:cNvPr>
          <p:cNvSpPr txBox="1"/>
          <p:nvPr/>
        </p:nvSpPr>
        <p:spPr bwMode="gray">
          <a:xfrm>
            <a:off x="680669" y="2389844"/>
            <a:ext cx="880117" cy="3783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/>
              <a:t>User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AE9311E-3A52-4B2A-ADCF-96BD85BABAA5}"/>
              </a:ext>
            </a:extLst>
          </p:cNvPr>
          <p:cNvSpPr txBox="1"/>
          <p:nvPr/>
        </p:nvSpPr>
        <p:spPr bwMode="gray">
          <a:xfrm>
            <a:off x="4925232" y="4137946"/>
            <a:ext cx="2298417" cy="3783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/>
              <a:t>OTC Control Center App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96372B3D-4CB5-472C-A6D3-8C256F70BF37}"/>
              </a:ext>
            </a:extLst>
          </p:cNvPr>
          <p:cNvSpPr txBox="1"/>
          <p:nvPr/>
        </p:nvSpPr>
        <p:spPr bwMode="gray">
          <a:xfrm>
            <a:off x="5233886" y="2367334"/>
            <a:ext cx="1669156" cy="3783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/>
              <a:t>Alexa Skills Ki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74D6E74F-0940-44DC-93BF-6751755A2965}"/>
              </a:ext>
            </a:extLst>
          </p:cNvPr>
          <p:cNvSpPr txBox="1"/>
          <p:nvPr/>
        </p:nvSpPr>
        <p:spPr bwMode="gray">
          <a:xfrm>
            <a:off x="8771707" y="1157945"/>
            <a:ext cx="1866671" cy="36342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 err="1">
                <a:solidFill>
                  <a:schemeClr val="bg1"/>
                </a:solidFill>
              </a:rPr>
              <a:t>Utterance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9792636B-9894-4C4C-9FA4-0010FC2D6D65}"/>
              </a:ext>
            </a:extLst>
          </p:cNvPr>
          <p:cNvSpPr txBox="1"/>
          <p:nvPr/>
        </p:nvSpPr>
        <p:spPr bwMode="gray">
          <a:xfrm>
            <a:off x="2609459" y="2389006"/>
            <a:ext cx="1916081" cy="56701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/>
              <a:t>Echo Device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DF7F990-13EF-4473-8B6D-0EADA0B33577}"/>
              </a:ext>
            </a:extLst>
          </p:cNvPr>
          <p:cNvSpPr txBox="1"/>
          <p:nvPr/>
        </p:nvSpPr>
        <p:spPr bwMode="gray">
          <a:xfrm>
            <a:off x="4919254" y="5719372"/>
            <a:ext cx="2298417" cy="37837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/>
              <a:t>Backend </a:t>
            </a:r>
            <a:r>
              <a:rPr lang="de-DE" sz="1800" dirty="0" err="1"/>
              <a:t>Functions</a:t>
            </a:r>
            <a:endParaRPr lang="de-DE" sz="1800" dirty="0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EDACBDF5-875A-460B-A420-3D1A74923896}"/>
              </a:ext>
            </a:extLst>
          </p:cNvPr>
          <p:cNvSpPr txBox="1"/>
          <p:nvPr/>
        </p:nvSpPr>
        <p:spPr bwMode="gray">
          <a:xfrm>
            <a:off x="8771705" y="2040888"/>
            <a:ext cx="1866671" cy="36342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800" dirty="0" err="1">
                <a:solidFill>
                  <a:schemeClr val="bg1"/>
                </a:solidFill>
              </a:rPr>
              <a:t>Intent</a:t>
            </a:r>
            <a:endParaRPr lang="de-DE" sz="1800" dirty="0">
              <a:solidFill>
                <a:schemeClr val="bg1"/>
              </a:solidFill>
            </a:endParaRP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3FC5E349-3B11-430D-99CD-50E5E9C1C035}"/>
              </a:ext>
            </a:extLst>
          </p:cNvPr>
          <p:cNvCxnSpPr>
            <a:cxnSpLocks/>
          </p:cNvCxnSpPr>
          <p:nvPr/>
        </p:nvCxnSpPr>
        <p:spPr>
          <a:xfrm>
            <a:off x="1923393" y="1410491"/>
            <a:ext cx="1221828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3DFAB723-787F-4DDD-8DFB-6922168B8922}"/>
              </a:ext>
            </a:extLst>
          </p:cNvPr>
          <p:cNvCxnSpPr>
            <a:cxnSpLocks/>
          </p:cNvCxnSpPr>
          <p:nvPr/>
        </p:nvCxnSpPr>
        <p:spPr>
          <a:xfrm>
            <a:off x="3831150" y="1410218"/>
            <a:ext cx="1513360" cy="0"/>
          </a:xfrm>
          <a:prstGeom prst="straightConnector1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7541DFE8-74B4-4965-BBDB-E01F4E1FE129}"/>
              </a:ext>
            </a:extLst>
          </p:cNvPr>
          <p:cNvCxnSpPr>
            <a:cxnSpLocks/>
            <a:endCxn id="35" idx="1"/>
          </p:cNvCxnSpPr>
          <p:nvPr/>
        </p:nvCxnSpPr>
        <p:spPr>
          <a:xfrm>
            <a:off x="6723993" y="1339659"/>
            <a:ext cx="2047714" cy="0"/>
          </a:xfrm>
          <a:prstGeom prst="straightConnector1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7AC28B19-C37E-42F2-9373-98195BBDF919}"/>
              </a:ext>
            </a:extLst>
          </p:cNvPr>
          <p:cNvCxnSpPr>
            <a:cxnSpLocks/>
            <a:stCxn id="35" idx="2"/>
            <a:endCxn id="38" idx="0"/>
          </p:cNvCxnSpPr>
          <p:nvPr/>
        </p:nvCxnSpPr>
        <p:spPr>
          <a:xfrm flipH="1">
            <a:off x="9705041" y="1521373"/>
            <a:ext cx="2" cy="519515"/>
          </a:xfrm>
          <a:prstGeom prst="straightConnector1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172C64A8-8ED1-4353-9992-DE6F3F480C35}"/>
              </a:ext>
            </a:extLst>
          </p:cNvPr>
          <p:cNvCxnSpPr>
            <a:cxnSpLocks/>
          </p:cNvCxnSpPr>
          <p:nvPr/>
        </p:nvCxnSpPr>
        <p:spPr>
          <a:xfrm flipH="1" flipV="1">
            <a:off x="6723993" y="2222601"/>
            <a:ext cx="2088121" cy="8205"/>
          </a:xfrm>
          <a:prstGeom prst="straightConnector1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88C08106-BC94-4318-9FC3-6D567CEE27E6}"/>
              </a:ext>
            </a:extLst>
          </p:cNvPr>
          <p:cNvCxnSpPr/>
          <p:nvPr/>
        </p:nvCxnSpPr>
        <p:spPr>
          <a:xfrm>
            <a:off x="6282559" y="2745706"/>
            <a:ext cx="0" cy="432853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97B63AE3-0013-4F0E-98F0-6F27A219FFAB}"/>
              </a:ext>
            </a:extLst>
          </p:cNvPr>
          <p:cNvCxnSpPr/>
          <p:nvPr/>
        </p:nvCxnSpPr>
        <p:spPr>
          <a:xfrm>
            <a:off x="6345621" y="4516318"/>
            <a:ext cx="0" cy="31218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9366A13A-7326-4CA0-AC25-F63902F24E5B}"/>
              </a:ext>
            </a:extLst>
          </p:cNvPr>
          <p:cNvCxnSpPr/>
          <p:nvPr/>
        </p:nvCxnSpPr>
        <p:spPr>
          <a:xfrm>
            <a:off x="6563703" y="4966138"/>
            <a:ext cx="2083683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CCFD8CF6-5D6D-4BD9-8186-3C33348D2E69}"/>
              </a:ext>
            </a:extLst>
          </p:cNvPr>
          <p:cNvCxnSpPr/>
          <p:nvPr/>
        </p:nvCxnSpPr>
        <p:spPr>
          <a:xfrm flipH="1">
            <a:off x="6563703" y="5557345"/>
            <a:ext cx="1992130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FCE0A43B-3DD4-4C19-B1C3-3DB24561A9DC}"/>
              </a:ext>
            </a:extLst>
          </p:cNvPr>
          <p:cNvCxnSpPr/>
          <p:nvPr/>
        </p:nvCxnSpPr>
        <p:spPr>
          <a:xfrm flipV="1">
            <a:off x="5849007" y="4478515"/>
            <a:ext cx="0" cy="349983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2C61F788-2DEF-4E23-A58B-643C5D64610F}"/>
              </a:ext>
            </a:extLst>
          </p:cNvPr>
          <p:cNvCxnSpPr/>
          <p:nvPr/>
        </p:nvCxnSpPr>
        <p:spPr>
          <a:xfrm flipV="1">
            <a:off x="5759998" y="2768216"/>
            <a:ext cx="0" cy="410343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77EDCC00-FBEB-4EEC-A084-5DBB122F1F03}"/>
              </a:ext>
            </a:extLst>
          </p:cNvPr>
          <p:cNvCxnSpPr/>
          <p:nvPr/>
        </p:nvCxnSpPr>
        <p:spPr>
          <a:xfrm flipH="1">
            <a:off x="3831150" y="2152315"/>
            <a:ext cx="1513360" cy="0"/>
          </a:xfrm>
          <a:prstGeom prst="straightConnector1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961" name="Gerade Verbindung mit Pfeil 40960">
            <a:extLst>
              <a:ext uri="{FF2B5EF4-FFF2-40B4-BE49-F238E27FC236}">
                <a16:creationId xmlns:a16="http://schemas.microsoft.com/office/drawing/2014/main" id="{744EA5B3-12D8-41A6-8ECF-899CF73BE24B}"/>
              </a:ext>
            </a:extLst>
          </p:cNvPr>
          <p:cNvCxnSpPr/>
          <p:nvPr/>
        </p:nvCxnSpPr>
        <p:spPr>
          <a:xfrm flipH="1">
            <a:off x="1631731" y="2152316"/>
            <a:ext cx="1576552" cy="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extfeld 67">
            <a:extLst>
              <a:ext uri="{FF2B5EF4-FFF2-40B4-BE49-F238E27FC236}">
                <a16:creationId xmlns:a16="http://schemas.microsoft.com/office/drawing/2014/main" id="{E5FF7285-FBF4-4CF1-85CB-F8E6B4265B21}"/>
              </a:ext>
            </a:extLst>
          </p:cNvPr>
          <p:cNvSpPr txBox="1"/>
          <p:nvPr/>
        </p:nvSpPr>
        <p:spPr bwMode="gray">
          <a:xfrm>
            <a:off x="1923394" y="1152961"/>
            <a:ext cx="1142860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Status Report“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A65CF115-56F9-4CB0-9062-998FC608ED21}"/>
              </a:ext>
            </a:extLst>
          </p:cNvPr>
          <p:cNvSpPr txBox="1"/>
          <p:nvPr/>
        </p:nvSpPr>
        <p:spPr bwMode="gray">
          <a:xfrm>
            <a:off x="3958348" y="1155432"/>
            <a:ext cx="1142860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Status Report“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33DE639-DD32-4F64-B620-ED9B45F6C0B8}"/>
              </a:ext>
            </a:extLst>
          </p:cNvPr>
          <p:cNvSpPr txBox="1"/>
          <p:nvPr/>
        </p:nvSpPr>
        <p:spPr bwMode="gray">
          <a:xfrm>
            <a:off x="7143893" y="1060227"/>
            <a:ext cx="1142860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Status Report“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859C1AC-96BC-43C1-92B6-1E57F6C2E4FA}"/>
              </a:ext>
            </a:extLst>
          </p:cNvPr>
          <p:cNvSpPr txBox="1"/>
          <p:nvPr/>
        </p:nvSpPr>
        <p:spPr bwMode="gray">
          <a:xfrm>
            <a:off x="9626506" y="1647346"/>
            <a:ext cx="1227744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StatusIntentEN</a:t>
            </a:r>
            <a:endParaRPr lang="de-DE" sz="1200" dirty="0"/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BA4B6A69-D0FB-4128-B974-C414E6625281}"/>
              </a:ext>
            </a:extLst>
          </p:cNvPr>
          <p:cNvSpPr txBox="1"/>
          <p:nvPr/>
        </p:nvSpPr>
        <p:spPr bwMode="gray">
          <a:xfrm>
            <a:off x="7154181" y="1894661"/>
            <a:ext cx="1227744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StatusIntentEN</a:t>
            </a:r>
            <a:endParaRPr lang="de-DE" sz="1200" dirty="0"/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C6859409-4909-4869-A116-C6DBDA17F76D}"/>
              </a:ext>
            </a:extLst>
          </p:cNvPr>
          <p:cNvSpPr txBox="1"/>
          <p:nvPr/>
        </p:nvSpPr>
        <p:spPr bwMode="gray">
          <a:xfrm>
            <a:off x="6282559" y="2772580"/>
            <a:ext cx="1227744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StatusIntentEN</a:t>
            </a:r>
            <a:endParaRPr lang="de-DE" sz="1200" dirty="0"/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967EF985-91E8-4032-9717-904B77C713D3}"/>
              </a:ext>
            </a:extLst>
          </p:cNvPr>
          <p:cNvSpPr txBox="1"/>
          <p:nvPr/>
        </p:nvSpPr>
        <p:spPr bwMode="gray">
          <a:xfrm>
            <a:off x="6284995" y="4497978"/>
            <a:ext cx="1227744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report_status</a:t>
            </a:r>
            <a:r>
              <a:rPr lang="de-DE" sz="1200" dirty="0"/>
              <a:t>()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F452B5D7-904D-4C02-AC8B-1E727BFE7276}"/>
              </a:ext>
            </a:extLst>
          </p:cNvPr>
          <p:cNvSpPr txBox="1"/>
          <p:nvPr/>
        </p:nvSpPr>
        <p:spPr bwMode="gray">
          <a:xfrm>
            <a:off x="6762591" y="4962020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cloud.list_servers</a:t>
            </a:r>
            <a:r>
              <a:rPr lang="de-DE" sz="1200" dirty="0"/>
              <a:t>()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4AEB7618-255C-4F94-8AFD-2126DEF85FDB}"/>
              </a:ext>
            </a:extLst>
          </p:cNvPr>
          <p:cNvSpPr txBox="1"/>
          <p:nvPr/>
        </p:nvSpPr>
        <p:spPr bwMode="gray">
          <a:xfrm>
            <a:off x="6797246" y="5566488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 err="1"/>
              <a:t>server_list</a:t>
            </a:r>
            <a:r>
              <a:rPr lang="de-DE" sz="1200" dirty="0"/>
              <a:t> = [ … ]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03E3AFE7-1A3B-4204-8E1A-1A48EB4D892F}"/>
              </a:ext>
            </a:extLst>
          </p:cNvPr>
          <p:cNvSpPr txBox="1"/>
          <p:nvPr/>
        </p:nvSpPr>
        <p:spPr bwMode="gray">
          <a:xfrm>
            <a:off x="4383494" y="4527833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Total/</a:t>
            </a:r>
            <a:r>
              <a:rPr lang="de-DE" sz="1200" dirty="0" err="1"/>
              <a:t>Active</a:t>
            </a:r>
            <a:r>
              <a:rPr lang="de-DE" sz="1200" dirty="0"/>
              <a:t>/</a:t>
            </a:r>
            <a:r>
              <a:rPr lang="de-DE" sz="1200" dirty="0" err="1"/>
              <a:t>Stopped</a:t>
            </a:r>
            <a:endParaRPr lang="de-DE" sz="1200" dirty="0"/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B257371D-142A-404B-994A-C7FA5EAAA825}"/>
              </a:ext>
            </a:extLst>
          </p:cNvPr>
          <p:cNvSpPr txBox="1"/>
          <p:nvPr/>
        </p:nvSpPr>
        <p:spPr bwMode="gray">
          <a:xfrm>
            <a:off x="4262799" y="2772580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The total </a:t>
            </a:r>
            <a:r>
              <a:rPr lang="de-DE" sz="1200" dirty="0" err="1"/>
              <a:t>number</a:t>
            </a:r>
            <a:r>
              <a:rPr lang="de-DE" sz="1200" dirty="0"/>
              <a:t>…“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89EC58DD-1E6E-43FF-BDDA-302454F1DA83}"/>
              </a:ext>
            </a:extLst>
          </p:cNvPr>
          <p:cNvSpPr txBox="1"/>
          <p:nvPr/>
        </p:nvSpPr>
        <p:spPr bwMode="gray">
          <a:xfrm>
            <a:off x="3909685" y="1885783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The total </a:t>
            </a:r>
            <a:r>
              <a:rPr lang="de-DE" sz="1200" dirty="0" err="1"/>
              <a:t>number</a:t>
            </a:r>
            <a:r>
              <a:rPr lang="de-DE" sz="1200" dirty="0"/>
              <a:t>…“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D81E28E2-17BA-4D15-BB98-B6E3A3A6B50A}"/>
              </a:ext>
            </a:extLst>
          </p:cNvPr>
          <p:cNvSpPr txBox="1"/>
          <p:nvPr/>
        </p:nvSpPr>
        <p:spPr bwMode="gray">
          <a:xfrm>
            <a:off x="1752704" y="1884086"/>
            <a:ext cx="1495423" cy="25309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de-DE" sz="1200" dirty="0"/>
              <a:t>„The total </a:t>
            </a:r>
            <a:r>
              <a:rPr lang="de-DE" sz="1200" dirty="0" err="1"/>
              <a:t>number</a:t>
            </a:r>
            <a:r>
              <a:rPr lang="de-DE" sz="1200" dirty="0"/>
              <a:t>…“</a:t>
            </a:r>
          </a:p>
        </p:txBody>
      </p:sp>
    </p:spTree>
    <p:extLst>
      <p:ext uri="{BB962C8B-B14F-4D97-AF65-F5344CB8AC3E}">
        <p14:creationId xmlns:p14="http://schemas.microsoft.com/office/powerpoint/2010/main" val="4114565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7" grpId="0"/>
      <p:bldP spid="28" grpId="0"/>
      <p:bldP spid="35" grpId="0"/>
      <p:bldP spid="36" grpId="0"/>
      <p:bldP spid="37" grpId="0"/>
      <p:bldP spid="38" grpId="0"/>
      <p:bldP spid="68" grpId="0"/>
      <p:bldP spid="76" grpId="0"/>
      <p:bldP spid="77" grpId="0"/>
      <p:bldP spid="78" grpId="0"/>
      <p:bldP spid="79" grpId="0"/>
      <p:bldP spid="81" grpId="0"/>
      <p:bldP spid="82" grpId="0"/>
      <p:bldP spid="83" grpId="0"/>
      <p:bldP spid="84" grpId="0"/>
      <p:bldP spid="85" grpId="0"/>
      <p:bldP spid="86" grpId="0"/>
      <p:bldP spid="87" grpId="0"/>
      <p:bldP spid="8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48769"/>
              </p:ext>
            </p:extLst>
          </p:nvPr>
        </p:nvGraphicFramePr>
        <p:xfrm>
          <a:off x="2933700" y="1476375"/>
          <a:ext cx="5654675" cy="2775944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40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14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1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Prerequisites</a:t>
                      </a: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Interaction with Alexa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8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pplication Architectu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Amazon Alexa Skill Kit (ASK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6714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dirty="0">
                          <a:solidFill>
                            <a:schemeClr val="bg1"/>
                          </a:solidFill>
                          <a:latin typeface="+mn-lt"/>
                          <a:sym typeface="+mn-lt"/>
                        </a:rPr>
                        <a:t>Demo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A476F72D-229A-4943-AC6A-233D1A0A6A4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94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r>
              <a:rPr lang="de-DE" dirty="0"/>
              <a:t> Architecture (Modules)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8E2034F-407A-426A-A23F-7BAE6462C2E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Needed</a:t>
            </a:r>
            <a:r>
              <a:rPr lang="de-DE" dirty="0"/>
              <a:t> </a:t>
            </a:r>
            <a:r>
              <a:rPr lang="de-DE" dirty="0" err="1"/>
              <a:t>software</a:t>
            </a:r>
            <a:r>
              <a:rPr lang="de-DE" dirty="0"/>
              <a:t> / </a:t>
            </a:r>
            <a:r>
              <a:rPr lang="de-DE" dirty="0" err="1"/>
              <a:t>python</a:t>
            </a:r>
            <a:r>
              <a:rPr lang="de-DE" dirty="0"/>
              <a:t> </a:t>
            </a:r>
            <a:r>
              <a:rPr lang="de-DE" dirty="0" err="1"/>
              <a:t>modules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90D54D6-5C96-4EB1-821D-90E68395FA3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Authentication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pyhton-shad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7</a:t>
            </a:fld>
            <a:endParaRPr lang="en-US" noProof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92CE7CD-C49B-4771-BB8C-5FCA988B3C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2244550"/>
            <a:ext cx="2876951" cy="124794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777CD57-FCAB-401D-A8CF-0CF305E07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475" y="2244550"/>
            <a:ext cx="4448796" cy="201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328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r>
              <a:rPr lang="de-DE" dirty="0"/>
              <a:t> Architecture (Backend)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8E2034F-407A-426A-A23F-7BAE6462C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8</a:t>
            </a:fld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6B7D8FF-B5CF-4450-B219-BADCF56C5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1344311"/>
            <a:ext cx="8383170" cy="429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1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35877-E3A4-4656-BD39-7E7D38C37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pplication</a:t>
            </a:r>
            <a:r>
              <a:rPr lang="de-DE" dirty="0"/>
              <a:t> Architecture (Frontend 1/2)</a:t>
            </a:r>
            <a:br>
              <a:rPr lang="de-DE" dirty="0"/>
            </a:b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8E2034F-407A-426A-A23F-7BAE6462C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88EC2A-3697-4731-82EE-D41053A47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9</a:t>
            </a:fld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0C8CA45-29A3-4148-822A-70F783CDE0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1476374"/>
            <a:ext cx="8383170" cy="3134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075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Pqmk_sT1SHGTd2GWrY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C4Yh9eQ6OyNWIIJx_S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Benutzerdefiniert 4">
      <a:majorFont>
        <a:latin typeface="TeleGrotesk Next Ultra"/>
        <a:ea typeface=""/>
        <a:cs typeface=""/>
      </a:majorFont>
      <a:minorFont>
        <a:latin typeface="TeleGrotesk N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nimated_Pattern_Particle_based_on_Telekom_Powerpoint-Master_EN_16x9_May_2018.potx.pptx" id="{BB8C18BC-AED7-4DF2-9765-F76B86F456EC}" vid="{221CCE38-213B-4C80-B440-D56EC5AA680D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imated_Pattern_Particle_based_on_Telekom_Powerpoint-Master_EN_16x9_May_2018</Template>
  <TotalTime>0</TotalTime>
  <Words>282</Words>
  <Application>Microsoft Office PowerPoint</Application>
  <PresentationFormat>Benutzerdefiniert</PresentationFormat>
  <Paragraphs>136</Paragraphs>
  <Slides>20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1" baseType="lpstr">
      <vt:lpstr>Arial</vt:lpstr>
      <vt:lpstr>Blackadder ITC</vt:lpstr>
      <vt:lpstr>TeleGrotesk Headline</vt:lpstr>
      <vt:lpstr>TeleGrotesk Headline Ultra</vt:lpstr>
      <vt:lpstr>TeleGrotesk Next</vt:lpstr>
      <vt:lpstr>TeleGrotesk Next Ultra</vt:lpstr>
      <vt:lpstr>Tele-GroteskUlt</vt:lpstr>
      <vt:lpstr>Wingdings</vt:lpstr>
      <vt:lpstr>Wingdings 2</vt:lpstr>
      <vt:lpstr>Telekom 16:9 2016 EN</vt:lpstr>
      <vt:lpstr>think-cell Folie</vt:lpstr>
      <vt:lpstr>Raise your voice! </vt:lpstr>
      <vt:lpstr>agenda</vt:lpstr>
      <vt:lpstr>Prerequisites</vt:lpstr>
      <vt:lpstr>PowerPoint-Präsentation</vt:lpstr>
      <vt:lpstr>Interaction with Alexa </vt:lpstr>
      <vt:lpstr>PowerPoint-Präsentation</vt:lpstr>
      <vt:lpstr>Application Architecture (Modules) </vt:lpstr>
      <vt:lpstr>Application Architecture (Backend) </vt:lpstr>
      <vt:lpstr>Application Architecture (Frontend 1/2) </vt:lpstr>
      <vt:lpstr>Application Architecture (Frontend 2/2) </vt:lpstr>
      <vt:lpstr>PowerPoint-Präsentation</vt:lpstr>
      <vt:lpstr>Amazon Alexa Skill Kit (ASK)</vt:lpstr>
      <vt:lpstr>Amazon Alexa Skill Kit (Invocation)</vt:lpstr>
      <vt:lpstr>Amazon Alexa Skill Kit (Intent / Utterance)</vt:lpstr>
      <vt:lpstr>Amazon Alexa Skill Kit (ASK)</vt:lpstr>
      <vt:lpstr>PowerPoint-Präsentation</vt:lpstr>
      <vt:lpstr>DEMO (Skill / NGROK)</vt:lpstr>
      <vt:lpstr>Demo</vt:lpstr>
      <vt:lpstr>PowerPoint-Präsentation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19T08:20:13Z</dcterms:created>
  <dcterms:modified xsi:type="dcterms:W3CDTF">2018-11-15T14:18:22Z</dcterms:modified>
</cp:coreProperties>
</file>